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ppt/slides/slide77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267.xml" ContentType="application/vnd.openxmlformats-officedocument.presentationml.tags+xml"/>
  <Override PartName="/ppt/notesSlides/notesSlide77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3339" r:id="rId80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slide" Target="/ppt/slides/slide77.xml" Id="rId80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81.vml.rels>&#65279;<?xml version="1.0" encoding="utf-8"?><Relationships xmlns="http://schemas.openxmlformats.org/package/2006/relationships"><Relationship Type="http://schemas.openxmlformats.org/officeDocument/2006/relationships/image" Target="/ppt/media/image92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77.xml.rels>&#65279;<?xml version="1.0" encoding="utf-8"?><Relationships xmlns="http://schemas.openxmlformats.org/package/2006/relationships"><Relationship Type="http://schemas.openxmlformats.org/officeDocument/2006/relationships/slide" Target="/ppt/slides/slide77.xml" Id="rId2" /><Relationship Type="http://schemas.openxmlformats.org/officeDocument/2006/relationships/notesMaster" Target="/ppt/notesMasters/notesMaster1.xml" Id="rId1" /></Relationships>
</file>

<file path=ppt/notesSlides/notesSlide7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9086369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77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267.xml" Id="rId2" /><Relationship Type="http://schemas.openxmlformats.org/officeDocument/2006/relationships/vmlDrawing" Target="/ppt/drawings/vmlDrawing81.vml" Id="rId1" /><Relationship Type="http://schemas.openxmlformats.org/officeDocument/2006/relationships/image" Target="/ppt/media/image92.emf" Id="rId6" /><Relationship Type="http://schemas.openxmlformats.org/officeDocument/2006/relationships/oleObject" Target="/ppt/embeddings/oleObject81.bin" Id="rId5" /><Relationship Type="http://schemas.openxmlformats.org/officeDocument/2006/relationships/notesSlide" Target="/ppt/notesSlides/notesSlide77.xml" Id="rId4" /></Relationships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85261E9-149F-9063-864A-61AC8869076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47295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03" name="think-cell 幻灯片" r:id="rId5" imgW="349" imgH="349" progId="TCLayout.ActiveDocument.1">
                  <p:embed/>
                </p:oleObj>
              </mc:Choice>
              <mc:Fallback>
                <p:oleObj name="think-cell 幻灯片" r:id="rId5" imgW="349" imgH="349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85261E9-149F-9063-864A-61AC886907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oup 7"/>
          <p:cNvGrpSpPr/>
          <p:nvPr/>
        </p:nvGrpSpPr>
        <p:grpSpPr>
          <a:xfrm>
            <a:off x="3760198" y="1113740"/>
            <a:ext cx="4671605" cy="5135243"/>
            <a:chOff x="8029079" y="2927480"/>
            <a:chExt cx="8466170" cy="9306404"/>
          </a:xfrm>
          <a:solidFill>
            <a:schemeClr val="bg2"/>
          </a:solidFill>
        </p:grpSpPr>
        <p:sp>
          <p:nvSpPr>
            <p:cNvPr id="9" name="Freeform 1"/>
            <p:cNvSpPr>
              <a:spLocks noChangeArrowheads="1"/>
            </p:cNvSpPr>
            <p:nvPr/>
          </p:nvSpPr>
          <p:spPr bwMode="auto">
            <a:xfrm>
              <a:off x="9704776" y="6257592"/>
              <a:ext cx="2657473" cy="1804129"/>
            </a:xfrm>
            <a:custGeom>
              <a:avLst/>
              <a:gdLst>
                <a:gd name="T0" fmla="*/ 4767 w 6149"/>
                <a:gd name="T1" fmla="*/ 3541 h 4174"/>
                <a:gd name="T2" fmla="*/ 5057 w 6149"/>
                <a:gd name="T3" fmla="*/ 3274 h 4174"/>
                <a:gd name="T4" fmla="*/ 5391 w 6149"/>
                <a:gd name="T5" fmla="*/ 3037 h 4174"/>
                <a:gd name="T6" fmla="*/ 5473 w 6149"/>
                <a:gd name="T7" fmla="*/ 2532 h 4174"/>
                <a:gd name="T8" fmla="*/ 5688 w 6149"/>
                <a:gd name="T9" fmla="*/ 2339 h 4174"/>
                <a:gd name="T10" fmla="*/ 5992 w 6149"/>
                <a:gd name="T11" fmla="*/ 2272 h 4174"/>
                <a:gd name="T12" fmla="*/ 6029 w 6149"/>
                <a:gd name="T13" fmla="*/ 2072 h 4174"/>
                <a:gd name="T14" fmla="*/ 6051 w 6149"/>
                <a:gd name="T15" fmla="*/ 1775 h 4174"/>
                <a:gd name="T16" fmla="*/ 5829 w 6149"/>
                <a:gd name="T17" fmla="*/ 1738 h 4174"/>
                <a:gd name="T18" fmla="*/ 5651 w 6149"/>
                <a:gd name="T19" fmla="*/ 1552 h 4174"/>
                <a:gd name="T20" fmla="*/ 5243 w 6149"/>
                <a:gd name="T21" fmla="*/ 1270 h 4174"/>
                <a:gd name="T22" fmla="*/ 5064 w 6149"/>
                <a:gd name="T23" fmla="*/ 1307 h 4174"/>
                <a:gd name="T24" fmla="*/ 4842 w 6149"/>
                <a:gd name="T25" fmla="*/ 1292 h 4174"/>
                <a:gd name="T26" fmla="*/ 4738 w 6149"/>
                <a:gd name="T27" fmla="*/ 1344 h 4174"/>
                <a:gd name="T28" fmla="*/ 4522 w 6149"/>
                <a:gd name="T29" fmla="*/ 1344 h 4174"/>
                <a:gd name="T30" fmla="*/ 4463 w 6149"/>
                <a:gd name="T31" fmla="*/ 1322 h 4174"/>
                <a:gd name="T32" fmla="*/ 4181 w 6149"/>
                <a:gd name="T33" fmla="*/ 1188 h 4174"/>
                <a:gd name="T34" fmla="*/ 3891 w 6149"/>
                <a:gd name="T35" fmla="*/ 1173 h 4174"/>
                <a:gd name="T36" fmla="*/ 3616 w 6149"/>
                <a:gd name="T37" fmla="*/ 1255 h 4174"/>
                <a:gd name="T38" fmla="*/ 3535 w 6149"/>
                <a:gd name="T39" fmla="*/ 1121 h 4174"/>
                <a:gd name="T40" fmla="*/ 3535 w 6149"/>
                <a:gd name="T41" fmla="*/ 943 h 4174"/>
                <a:gd name="T42" fmla="*/ 3200 w 6149"/>
                <a:gd name="T43" fmla="*/ 1106 h 4174"/>
                <a:gd name="T44" fmla="*/ 3490 w 6149"/>
                <a:gd name="T45" fmla="*/ 1619 h 4174"/>
                <a:gd name="T46" fmla="*/ 3416 w 6149"/>
                <a:gd name="T47" fmla="*/ 1938 h 4174"/>
                <a:gd name="T48" fmla="*/ 3104 w 6149"/>
                <a:gd name="T49" fmla="*/ 1864 h 4174"/>
                <a:gd name="T50" fmla="*/ 3178 w 6149"/>
                <a:gd name="T51" fmla="*/ 1233 h 4174"/>
                <a:gd name="T52" fmla="*/ 3349 w 6149"/>
                <a:gd name="T53" fmla="*/ 914 h 4174"/>
                <a:gd name="T54" fmla="*/ 3512 w 6149"/>
                <a:gd name="T55" fmla="*/ 654 h 4174"/>
                <a:gd name="T56" fmla="*/ 3572 w 6149"/>
                <a:gd name="T57" fmla="*/ 104 h 4174"/>
                <a:gd name="T58" fmla="*/ 3119 w 6149"/>
                <a:gd name="T59" fmla="*/ 7 h 4174"/>
                <a:gd name="T60" fmla="*/ 2673 w 6149"/>
                <a:gd name="T61" fmla="*/ 260 h 4174"/>
                <a:gd name="T62" fmla="*/ 1953 w 6149"/>
                <a:gd name="T63" fmla="*/ 676 h 4174"/>
                <a:gd name="T64" fmla="*/ 2376 w 6149"/>
                <a:gd name="T65" fmla="*/ 1084 h 4174"/>
                <a:gd name="T66" fmla="*/ 2302 w 6149"/>
                <a:gd name="T67" fmla="*/ 1263 h 4174"/>
                <a:gd name="T68" fmla="*/ 2257 w 6149"/>
                <a:gd name="T69" fmla="*/ 1597 h 4174"/>
                <a:gd name="T70" fmla="*/ 1945 w 6149"/>
                <a:gd name="T71" fmla="*/ 1894 h 4174"/>
                <a:gd name="T72" fmla="*/ 1589 w 6149"/>
                <a:gd name="T73" fmla="*/ 1834 h 4174"/>
                <a:gd name="T74" fmla="*/ 1277 w 6149"/>
                <a:gd name="T75" fmla="*/ 2161 h 4174"/>
                <a:gd name="T76" fmla="*/ 1374 w 6149"/>
                <a:gd name="T77" fmla="*/ 1797 h 4174"/>
                <a:gd name="T78" fmla="*/ 1285 w 6149"/>
                <a:gd name="T79" fmla="*/ 1471 h 4174"/>
                <a:gd name="T80" fmla="*/ 935 w 6149"/>
                <a:gd name="T81" fmla="*/ 1218 h 4174"/>
                <a:gd name="T82" fmla="*/ 735 w 6149"/>
                <a:gd name="T83" fmla="*/ 1381 h 4174"/>
                <a:gd name="T84" fmla="*/ 653 w 6149"/>
                <a:gd name="T85" fmla="*/ 1775 h 4174"/>
                <a:gd name="T86" fmla="*/ 690 w 6149"/>
                <a:gd name="T87" fmla="*/ 2287 h 4174"/>
                <a:gd name="T88" fmla="*/ 319 w 6149"/>
                <a:gd name="T89" fmla="*/ 2621 h 4174"/>
                <a:gd name="T90" fmla="*/ 230 w 6149"/>
                <a:gd name="T91" fmla="*/ 2948 h 4174"/>
                <a:gd name="T92" fmla="*/ 89 w 6149"/>
                <a:gd name="T93" fmla="*/ 3422 h 4174"/>
                <a:gd name="T94" fmla="*/ 623 w 6149"/>
                <a:gd name="T95" fmla="*/ 3705 h 4174"/>
                <a:gd name="T96" fmla="*/ 1366 w 6149"/>
                <a:gd name="T97" fmla="*/ 3942 h 4174"/>
                <a:gd name="T98" fmla="*/ 1663 w 6149"/>
                <a:gd name="T99" fmla="*/ 4098 h 4174"/>
                <a:gd name="T100" fmla="*/ 1886 w 6149"/>
                <a:gd name="T101" fmla="*/ 3853 h 4174"/>
                <a:gd name="T102" fmla="*/ 2473 w 6149"/>
                <a:gd name="T103" fmla="*/ 3883 h 4174"/>
                <a:gd name="T104" fmla="*/ 2510 w 6149"/>
                <a:gd name="T105" fmla="*/ 3987 h 4174"/>
                <a:gd name="T106" fmla="*/ 3074 w 6149"/>
                <a:gd name="T107" fmla="*/ 3913 h 4174"/>
                <a:gd name="T108" fmla="*/ 3549 w 6149"/>
                <a:gd name="T109" fmla="*/ 3876 h 4174"/>
                <a:gd name="T110" fmla="*/ 4121 w 6149"/>
                <a:gd name="T111" fmla="*/ 3972 h 4174"/>
                <a:gd name="T112" fmla="*/ 4567 w 6149"/>
                <a:gd name="T113" fmla="*/ 4135 h 4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149" h="4174">
                  <a:moveTo>
                    <a:pt x="4648" y="3838"/>
                  </a:moveTo>
                  <a:lnTo>
                    <a:pt x="4648" y="3838"/>
                  </a:lnTo>
                  <a:cubicBezTo>
                    <a:pt x="4708" y="3846"/>
                    <a:pt x="4738" y="3801"/>
                    <a:pt x="4730" y="3742"/>
                  </a:cubicBezTo>
                  <a:cubicBezTo>
                    <a:pt x="4723" y="3719"/>
                    <a:pt x="4708" y="3690"/>
                    <a:pt x="4708" y="3660"/>
                  </a:cubicBezTo>
                  <a:cubicBezTo>
                    <a:pt x="4708" y="3623"/>
                    <a:pt x="4738" y="3638"/>
                    <a:pt x="4767" y="3623"/>
                  </a:cubicBezTo>
                  <a:cubicBezTo>
                    <a:pt x="4767" y="3593"/>
                    <a:pt x="4767" y="3564"/>
                    <a:pt x="4767" y="3541"/>
                  </a:cubicBezTo>
                  <a:cubicBezTo>
                    <a:pt x="4804" y="3534"/>
                    <a:pt x="4827" y="3564"/>
                    <a:pt x="4856" y="3556"/>
                  </a:cubicBezTo>
                  <a:cubicBezTo>
                    <a:pt x="4856" y="3541"/>
                    <a:pt x="4856" y="3519"/>
                    <a:pt x="4856" y="3504"/>
                  </a:cubicBezTo>
                  <a:cubicBezTo>
                    <a:pt x="4819" y="3489"/>
                    <a:pt x="4871" y="3430"/>
                    <a:pt x="4879" y="3415"/>
                  </a:cubicBezTo>
                  <a:cubicBezTo>
                    <a:pt x="4893" y="3415"/>
                    <a:pt x="4908" y="3415"/>
                    <a:pt x="4931" y="3415"/>
                  </a:cubicBezTo>
                  <a:cubicBezTo>
                    <a:pt x="4931" y="3370"/>
                    <a:pt x="4931" y="3326"/>
                    <a:pt x="4931" y="3281"/>
                  </a:cubicBezTo>
                  <a:cubicBezTo>
                    <a:pt x="4975" y="3281"/>
                    <a:pt x="5012" y="3281"/>
                    <a:pt x="5057" y="3274"/>
                  </a:cubicBezTo>
                  <a:cubicBezTo>
                    <a:pt x="5072" y="3267"/>
                    <a:pt x="5079" y="3252"/>
                    <a:pt x="5101" y="3259"/>
                  </a:cubicBezTo>
                  <a:cubicBezTo>
                    <a:pt x="5124" y="3259"/>
                    <a:pt x="5139" y="3281"/>
                    <a:pt x="5161" y="3274"/>
                  </a:cubicBezTo>
                  <a:cubicBezTo>
                    <a:pt x="5161" y="3222"/>
                    <a:pt x="5243" y="3237"/>
                    <a:pt x="5265" y="3207"/>
                  </a:cubicBezTo>
                  <a:cubicBezTo>
                    <a:pt x="5287" y="3177"/>
                    <a:pt x="5280" y="3170"/>
                    <a:pt x="5309" y="3155"/>
                  </a:cubicBezTo>
                  <a:cubicBezTo>
                    <a:pt x="5332" y="3140"/>
                    <a:pt x="5369" y="3140"/>
                    <a:pt x="5369" y="3103"/>
                  </a:cubicBezTo>
                  <a:cubicBezTo>
                    <a:pt x="5376" y="3081"/>
                    <a:pt x="5369" y="3060"/>
                    <a:pt x="5391" y="3037"/>
                  </a:cubicBezTo>
                  <a:cubicBezTo>
                    <a:pt x="5413" y="3023"/>
                    <a:pt x="5436" y="3008"/>
                    <a:pt x="5443" y="2985"/>
                  </a:cubicBezTo>
                  <a:cubicBezTo>
                    <a:pt x="5443" y="2955"/>
                    <a:pt x="5443" y="2933"/>
                    <a:pt x="5465" y="2911"/>
                  </a:cubicBezTo>
                  <a:cubicBezTo>
                    <a:pt x="5480" y="2896"/>
                    <a:pt x="5503" y="2896"/>
                    <a:pt x="5495" y="2866"/>
                  </a:cubicBezTo>
                  <a:cubicBezTo>
                    <a:pt x="5584" y="2859"/>
                    <a:pt x="5651" y="2859"/>
                    <a:pt x="5644" y="2748"/>
                  </a:cubicBezTo>
                  <a:cubicBezTo>
                    <a:pt x="5636" y="2703"/>
                    <a:pt x="5577" y="2592"/>
                    <a:pt x="5517" y="2592"/>
                  </a:cubicBezTo>
                  <a:cubicBezTo>
                    <a:pt x="5517" y="2570"/>
                    <a:pt x="5495" y="2540"/>
                    <a:pt x="5473" y="2532"/>
                  </a:cubicBezTo>
                  <a:cubicBezTo>
                    <a:pt x="5450" y="2584"/>
                    <a:pt x="5428" y="2532"/>
                    <a:pt x="5398" y="2518"/>
                  </a:cubicBezTo>
                  <a:cubicBezTo>
                    <a:pt x="5361" y="2503"/>
                    <a:pt x="5324" y="2555"/>
                    <a:pt x="5295" y="2532"/>
                  </a:cubicBezTo>
                  <a:cubicBezTo>
                    <a:pt x="5228" y="2473"/>
                    <a:pt x="5272" y="2443"/>
                    <a:pt x="5324" y="2399"/>
                  </a:cubicBezTo>
                  <a:cubicBezTo>
                    <a:pt x="5384" y="2347"/>
                    <a:pt x="5332" y="2332"/>
                    <a:pt x="5287" y="2302"/>
                  </a:cubicBezTo>
                  <a:cubicBezTo>
                    <a:pt x="5235" y="2265"/>
                    <a:pt x="5391" y="2198"/>
                    <a:pt x="5384" y="2295"/>
                  </a:cubicBezTo>
                  <a:cubicBezTo>
                    <a:pt x="5421" y="2302"/>
                    <a:pt x="5695" y="2265"/>
                    <a:pt x="5688" y="2339"/>
                  </a:cubicBezTo>
                  <a:cubicBezTo>
                    <a:pt x="5718" y="2339"/>
                    <a:pt x="5785" y="2310"/>
                    <a:pt x="5792" y="2347"/>
                  </a:cubicBezTo>
                  <a:cubicBezTo>
                    <a:pt x="5814" y="2354"/>
                    <a:pt x="5837" y="2339"/>
                    <a:pt x="5859" y="2347"/>
                  </a:cubicBezTo>
                  <a:cubicBezTo>
                    <a:pt x="5881" y="2354"/>
                    <a:pt x="5874" y="2399"/>
                    <a:pt x="5896" y="2391"/>
                  </a:cubicBezTo>
                  <a:cubicBezTo>
                    <a:pt x="5917" y="2376"/>
                    <a:pt x="5903" y="2339"/>
                    <a:pt x="5925" y="2324"/>
                  </a:cubicBezTo>
                  <a:cubicBezTo>
                    <a:pt x="5940" y="2317"/>
                    <a:pt x="5962" y="2332"/>
                    <a:pt x="5977" y="2324"/>
                  </a:cubicBezTo>
                  <a:cubicBezTo>
                    <a:pt x="5999" y="2317"/>
                    <a:pt x="5992" y="2287"/>
                    <a:pt x="5992" y="2272"/>
                  </a:cubicBezTo>
                  <a:cubicBezTo>
                    <a:pt x="5999" y="2243"/>
                    <a:pt x="6036" y="2250"/>
                    <a:pt x="6059" y="2250"/>
                  </a:cubicBezTo>
                  <a:cubicBezTo>
                    <a:pt x="6073" y="2243"/>
                    <a:pt x="6088" y="2228"/>
                    <a:pt x="6103" y="2206"/>
                  </a:cubicBezTo>
                  <a:cubicBezTo>
                    <a:pt x="6096" y="2206"/>
                    <a:pt x="6096" y="2198"/>
                    <a:pt x="6096" y="2191"/>
                  </a:cubicBezTo>
                  <a:cubicBezTo>
                    <a:pt x="6066" y="2191"/>
                    <a:pt x="6081" y="2161"/>
                    <a:pt x="6073" y="2139"/>
                  </a:cubicBezTo>
                  <a:cubicBezTo>
                    <a:pt x="6066" y="2124"/>
                    <a:pt x="6051" y="2109"/>
                    <a:pt x="6029" y="2102"/>
                  </a:cubicBezTo>
                  <a:cubicBezTo>
                    <a:pt x="6021" y="2094"/>
                    <a:pt x="6021" y="2079"/>
                    <a:pt x="6029" y="2072"/>
                  </a:cubicBezTo>
                  <a:cubicBezTo>
                    <a:pt x="6036" y="2079"/>
                    <a:pt x="6051" y="2072"/>
                    <a:pt x="6059" y="2072"/>
                  </a:cubicBezTo>
                  <a:cubicBezTo>
                    <a:pt x="6059" y="2027"/>
                    <a:pt x="6081" y="2005"/>
                    <a:pt x="6096" y="1961"/>
                  </a:cubicBezTo>
                  <a:cubicBezTo>
                    <a:pt x="6110" y="1931"/>
                    <a:pt x="6110" y="1894"/>
                    <a:pt x="6066" y="1894"/>
                  </a:cubicBezTo>
                  <a:cubicBezTo>
                    <a:pt x="6066" y="1879"/>
                    <a:pt x="6066" y="1857"/>
                    <a:pt x="6066" y="1834"/>
                  </a:cubicBezTo>
                  <a:cubicBezTo>
                    <a:pt x="6059" y="1834"/>
                    <a:pt x="6051" y="1834"/>
                    <a:pt x="6044" y="1834"/>
                  </a:cubicBezTo>
                  <a:cubicBezTo>
                    <a:pt x="6044" y="1812"/>
                    <a:pt x="6044" y="1797"/>
                    <a:pt x="6051" y="1775"/>
                  </a:cubicBezTo>
                  <a:cubicBezTo>
                    <a:pt x="6088" y="1797"/>
                    <a:pt x="6148" y="1767"/>
                    <a:pt x="6110" y="1716"/>
                  </a:cubicBezTo>
                  <a:cubicBezTo>
                    <a:pt x="6096" y="1708"/>
                    <a:pt x="6081" y="1716"/>
                    <a:pt x="6073" y="1708"/>
                  </a:cubicBezTo>
                  <a:cubicBezTo>
                    <a:pt x="6073" y="1693"/>
                    <a:pt x="6073" y="1686"/>
                    <a:pt x="6066" y="1678"/>
                  </a:cubicBezTo>
                  <a:cubicBezTo>
                    <a:pt x="6051" y="1656"/>
                    <a:pt x="6029" y="1656"/>
                    <a:pt x="6006" y="1656"/>
                  </a:cubicBezTo>
                  <a:cubicBezTo>
                    <a:pt x="5977" y="1693"/>
                    <a:pt x="5874" y="1671"/>
                    <a:pt x="5829" y="1678"/>
                  </a:cubicBezTo>
                  <a:cubicBezTo>
                    <a:pt x="5822" y="1693"/>
                    <a:pt x="5837" y="1716"/>
                    <a:pt x="5829" y="1738"/>
                  </a:cubicBezTo>
                  <a:cubicBezTo>
                    <a:pt x="5800" y="1745"/>
                    <a:pt x="5807" y="1708"/>
                    <a:pt x="5777" y="1716"/>
                  </a:cubicBezTo>
                  <a:cubicBezTo>
                    <a:pt x="5777" y="1701"/>
                    <a:pt x="5777" y="1686"/>
                    <a:pt x="5777" y="1671"/>
                  </a:cubicBezTo>
                  <a:cubicBezTo>
                    <a:pt x="5762" y="1671"/>
                    <a:pt x="5748" y="1671"/>
                    <a:pt x="5733" y="1663"/>
                  </a:cubicBezTo>
                  <a:cubicBezTo>
                    <a:pt x="5733" y="1641"/>
                    <a:pt x="5733" y="1619"/>
                    <a:pt x="5733" y="1589"/>
                  </a:cubicBezTo>
                  <a:cubicBezTo>
                    <a:pt x="5703" y="1589"/>
                    <a:pt x="5681" y="1589"/>
                    <a:pt x="5651" y="1589"/>
                  </a:cubicBezTo>
                  <a:cubicBezTo>
                    <a:pt x="5651" y="1574"/>
                    <a:pt x="5651" y="1560"/>
                    <a:pt x="5651" y="1552"/>
                  </a:cubicBezTo>
                  <a:cubicBezTo>
                    <a:pt x="5621" y="1545"/>
                    <a:pt x="5555" y="1567"/>
                    <a:pt x="5525" y="1537"/>
                  </a:cubicBezTo>
                  <a:cubicBezTo>
                    <a:pt x="5510" y="1508"/>
                    <a:pt x="5525" y="1463"/>
                    <a:pt x="5525" y="1433"/>
                  </a:cubicBezTo>
                  <a:cubicBezTo>
                    <a:pt x="5488" y="1426"/>
                    <a:pt x="5413" y="1448"/>
                    <a:pt x="5398" y="1396"/>
                  </a:cubicBezTo>
                  <a:cubicBezTo>
                    <a:pt x="5391" y="1359"/>
                    <a:pt x="5347" y="1381"/>
                    <a:pt x="5317" y="1374"/>
                  </a:cubicBezTo>
                  <a:cubicBezTo>
                    <a:pt x="5309" y="1344"/>
                    <a:pt x="5347" y="1300"/>
                    <a:pt x="5317" y="1277"/>
                  </a:cubicBezTo>
                  <a:cubicBezTo>
                    <a:pt x="5302" y="1263"/>
                    <a:pt x="5265" y="1270"/>
                    <a:pt x="5243" y="1270"/>
                  </a:cubicBezTo>
                  <a:cubicBezTo>
                    <a:pt x="5250" y="1300"/>
                    <a:pt x="5228" y="1314"/>
                    <a:pt x="5228" y="1344"/>
                  </a:cubicBezTo>
                  <a:cubicBezTo>
                    <a:pt x="5205" y="1352"/>
                    <a:pt x="5190" y="1337"/>
                    <a:pt x="5176" y="1322"/>
                  </a:cubicBezTo>
                  <a:cubicBezTo>
                    <a:pt x="5183" y="1307"/>
                    <a:pt x="5176" y="1300"/>
                    <a:pt x="5176" y="1292"/>
                  </a:cubicBezTo>
                  <a:cubicBezTo>
                    <a:pt x="5139" y="1285"/>
                    <a:pt x="5124" y="1314"/>
                    <a:pt x="5109" y="1329"/>
                  </a:cubicBezTo>
                  <a:cubicBezTo>
                    <a:pt x="5109" y="1322"/>
                    <a:pt x="5101" y="1314"/>
                    <a:pt x="5109" y="1300"/>
                  </a:cubicBezTo>
                  <a:cubicBezTo>
                    <a:pt x="5094" y="1300"/>
                    <a:pt x="5079" y="1300"/>
                    <a:pt x="5064" y="1307"/>
                  </a:cubicBezTo>
                  <a:cubicBezTo>
                    <a:pt x="5109" y="1366"/>
                    <a:pt x="5020" y="1389"/>
                    <a:pt x="5042" y="1448"/>
                  </a:cubicBezTo>
                  <a:cubicBezTo>
                    <a:pt x="5012" y="1448"/>
                    <a:pt x="4871" y="1463"/>
                    <a:pt x="4871" y="1433"/>
                  </a:cubicBezTo>
                  <a:cubicBezTo>
                    <a:pt x="4834" y="1426"/>
                    <a:pt x="4819" y="1478"/>
                    <a:pt x="4782" y="1463"/>
                  </a:cubicBezTo>
                  <a:cubicBezTo>
                    <a:pt x="4797" y="1433"/>
                    <a:pt x="4804" y="1404"/>
                    <a:pt x="4804" y="1366"/>
                  </a:cubicBezTo>
                  <a:cubicBezTo>
                    <a:pt x="4812" y="1352"/>
                    <a:pt x="4804" y="1329"/>
                    <a:pt x="4819" y="1314"/>
                  </a:cubicBezTo>
                  <a:cubicBezTo>
                    <a:pt x="4834" y="1307"/>
                    <a:pt x="4834" y="1307"/>
                    <a:pt x="4842" y="1292"/>
                  </a:cubicBezTo>
                  <a:cubicBezTo>
                    <a:pt x="4827" y="1292"/>
                    <a:pt x="4804" y="1292"/>
                    <a:pt x="4790" y="1292"/>
                  </a:cubicBezTo>
                  <a:cubicBezTo>
                    <a:pt x="4790" y="1307"/>
                    <a:pt x="4790" y="1322"/>
                    <a:pt x="4790" y="1329"/>
                  </a:cubicBezTo>
                  <a:cubicBezTo>
                    <a:pt x="4782" y="1322"/>
                    <a:pt x="4782" y="1307"/>
                    <a:pt x="4782" y="1300"/>
                  </a:cubicBezTo>
                  <a:cubicBezTo>
                    <a:pt x="4760" y="1300"/>
                    <a:pt x="4738" y="1300"/>
                    <a:pt x="4715" y="1307"/>
                  </a:cubicBezTo>
                  <a:cubicBezTo>
                    <a:pt x="4715" y="1314"/>
                    <a:pt x="4723" y="1329"/>
                    <a:pt x="4738" y="1329"/>
                  </a:cubicBezTo>
                  <a:cubicBezTo>
                    <a:pt x="4738" y="1337"/>
                    <a:pt x="4738" y="1344"/>
                    <a:pt x="4738" y="1344"/>
                  </a:cubicBezTo>
                  <a:cubicBezTo>
                    <a:pt x="4715" y="1344"/>
                    <a:pt x="4678" y="1352"/>
                    <a:pt x="4663" y="1329"/>
                  </a:cubicBezTo>
                  <a:cubicBezTo>
                    <a:pt x="4656" y="1314"/>
                    <a:pt x="4656" y="1292"/>
                    <a:pt x="4626" y="1300"/>
                  </a:cubicBezTo>
                  <a:cubicBezTo>
                    <a:pt x="4626" y="1314"/>
                    <a:pt x="4619" y="1322"/>
                    <a:pt x="4619" y="1329"/>
                  </a:cubicBezTo>
                  <a:cubicBezTo>
                    <a:pt x="4611" y="1307"/>
                    <a:pt x="4582" y="1314"/>
                    <a:pt x="4567" y="1322"/>
                  </a:cubicBezTo>
                  <a:cubicBezTo>
                    <a:pt x="4582" y="1352"/>
                    <a:pt x="4589" y="1426"/>
                    <a:pt x="4537" y="1411"/>
                  </a:cubicBezTo>
                  <a:cubicBezTo>
                    <a:pt x="4537" y="1389"/>
                    <a:pt x="4552" y="1352"/>
                    <a:pt x="4522" y="1344"/>
                  </a:cubicBezTo>
                  <a:cubicBezTo>
                    <a:pt x="4500" y="1337"/>
                    <a:pt x="4470" y="1352"/>
                    <a:pt x="4478" y="1381"/>
                  </a:cubicBezTo>
                  <a:cubicBezTo>
                    <a:pt x="4455" y="1389"/>
                    <a:pt x="4441" y="1389"/>
                    <a:pt x="4418" y="1381"/>
                  </a:cubicBezTo>
                  <a:cubicBezTo>
                    <a:pt x="4426" y="1366"/>
                    <a:pt x="4433" y="1359"/>
                    <a:pt x="4448" y="1359"/>
                  </a:cubicBezTo>
                  <a:cubicBezTo>
                    <a:pt x="4463" y="1352"/>
                    <a:pt x="4455" y="1352"/>
                    <a:pt x="4470" y="1344"/>
                  </a:cubicBezTo>
                  <a:cubicBezTo>
                    <a:pt x="4470" y="1344"/>
                    <a:pt x="4478" y="1329"/>
                    <a:pt x="4478" y="1322"/>
                  </a:cubicBezTo>
                  <a:cubicBezTo>
                    <a:pt x="4478" y="1322"/>
                    <a:pt x="4470" y="1322"/>
                    <a:pt x="4463" y="1322"/>
                  </a:cubicBezTo>
                  <a:cubicBezTo>
                    <a:pt x="4455" y="1270"/>
                    <a:pt x="4537" y="1277"/>
                    <a:pt x="4522" y="1218"/>
                  </a:cubicBezTo>
                  <a:cubicBezTo>
                    <a:pt x="4500" y="1211"/>
                    <a:pt x="4478" y="1173"/>
                    <a:pt x="4455" y="1159"/>
                  </a:cubicBezTo>
                  <a:cubicBezTo>
                    <a:pt x="4433" y="1144"/>
                    <a:pt x="4433" y="1114"/>
                    <a:pt x="4433" y="1092"/>
                  </a:cubicBezTo>
                  <a:cubicBezTo>
                    <a:pt x="4411" y="1084"/>
                    <a:pt x="4344" y="1106"/>
                    <a:pt x="4344" y="1129"/>
                  </a:cubicBezTo>
                  <a:cubicBezTo>
                    <a:pt x="4322" y="1121"/>
                    <a:pt x="4292" y="1114"/>
                    <a:pt x="4270" y="1121"/>
                  </a:cubicBezTo>
                  <a:cubicBezTo>
                    <a:pt x="4292" y="1159"/>
                    <a:pt x="4210" y="1211"/>
                    <a:pt x="4181" y="1188"/>
                  </a:cubicBezTo>
                  <a:cubicBezTo>
                    <a:pt x="4136" y="1159"/>
                    <a:pt x="4143" y="1270"/>
                    <a:pt x="4143" y="1285"/>
                  </a:cubicBezTo>
                  <a:cubicBezTo>
                    <a:pt x="4091" y="1285"/>
                    <a:pt x="4025" y="1292"/>
                    <a:pt x="3980" y="1285"/>
                  </a:cubicBezTo>
                  <a:cubicBezTo>
                    <a:pt x="3965" y="1240"/>
                    <a:pt x="3921" y="1225"/>
                    <a:pt x="3928" y="1285"/>
                  </a:cubicBezTo>
                  <a:cubicBezTo>
                    <a:pt x="3906" y="1285"/>
                    <a:pt x="3876" y="1270"/>
                    <a:pt x="3854" y="1277"/>
                  </a:cubicBezTo>
                  <a:cubicBezTo>
                    <a:pt x="3824" y="1292"/>
                    <a:pt x="3846" y="1314"/>
                    <a:pt x="3846" y="1337"/>
                  </a:cubicBezTo>
                  <a:cubicBezTo>
                    <a:pt x="3743" y="1322"/>
                    <a:pt x="3898" y="1203"/>
                    <a:pt x="3891" y="1173"/>
                  </a:cubicBezTo>
                  <a:cubicBezTo>
                    <a:pt x="3846" y="1173"/>
                    <a:pt x="3817" y="1188"/>
                    <a:pt x="3817" y="1136"/>
                  </a:cubicBezTo>
                  <a:cubicBezTo>
                    <a:pt x="3787" y="1136"/>
                    <a:pt x="3780" y="1114"/>
                    <a:pt x="3750" y="1106"/>
                  </a:cubicBezTo>
                  <a:cubicBezTo>
                    <a:pt x="3757" y="1129"/>
                    <a:pt x="3802" y="1218"/>
                    <a:pt x="3765" y="1225"/>
                  </a:cubicBezTo>
                  <a:cubicBezTo>
                    <a:pt x="3765" y="1233"/>
                    <a:pt x="3765" y="1248"/>
                    <a:pt x="3765" y="1255"/>
                  </a:cubicBezTo>
                  <a:cubicBezTo>
                    <a:pt x="3728" y="1263"/>
                    <a:pt x="3713" y="1255"/>
                    <a:pt x="3683" y="1248"/>
                  </a:cubicBezTo>
                  <a:cubicBezTo>
                    <a:pt x="3653" y="1240"/>
                    <a:pt x="3639" y="1255"/>
                    <a:pt x="3616" y="1255"/>
                  </a:cubicBezTo>
                  <a:cubicBezTo>
                    <a:pt x="3616" y="1248"/>
                    <a:pt x="3609" y="1240"/>
                    <a:pt x="3609" y="1233"/>
                  </a:cubicBezTo>
                  <a:cubicBezTo>
                    <a:pt x="3579" y="1225"/>
                    <a:pt x="3609" y="1196"/>
                    <a:pt x="3594" y="1181"/>
                  </a:cubicBezTo>
                  <a:cubicBezTo>
                    <a:pt x="3579" y="1173"/>
                    <a:pt x="3549" y="1188"/>
                    <a:pt x="3535" y="1196"/>
                  </a:cubicBezTo>
                  <a:cubicBezTo>
                    <a:pt x="3535" y="1211"/>
                    <a:pt x="3520" y="1218"/>
                    <a:pt x="3505" y="1218"/>
                  </a:cubicBezTo>
                  <a:cubicBezTo>
                    <a:pt x="3497" y="1211"/>
                    <a:pt x="3497" y="1196"/>
                    <a:pt x="3505" y="1188"/>
                  </a:cubicBezTo>
                  <a:cubicBezTo>
                    <a:pt x="3535" y="1173"/>
                    <a:pt x="3535" y="1151"/>
                    <a:pt x="3535" y="1121"/>
                  </a:cubicBezTo>
                  <a:cubicBezTo>
                    <a:pt x="3520" y="1114"/>
                    <a:pt x="3505" y="1114"/>
                    <a:pt x="3497" y="1121"/>
                  </a:cubicBezTo>
                  <a:cubicBezTo>
                    <a:pt x="3497" y="1136"/>
                    <a:pt x="3490" y="1151"/>
                    <a:pt x="3490" y="1166"/>
                  </a:cubicBezTo>
                  <a:cubicBezTo>
                    <a:pt x="3483" y="1159"/>
                    <a:pt x="3468" y="1151"/>
                    <a:pt x="3460" y="1144"/>
                  </a:cubicBezTo>
                  <a:cubicBezTo>
                    <a:pt x="3453" y="1084"/>
                    <a:pt x="3497" y="1084"/>
                    <a:pt x="3542" y="1084"/>
                  </a:cubicBezTo>
                  <a:cubicBezTo>
                    <a:pt x="3542" y="1055"/>
                    <a:pt x="3505" y="1025"/>
                    <a:pt x="3520" y="995"/>
                  </a:cubicBezTo>
                  <a:cubicBezTo>
                    <a:pt x="3527" y="973"/>
                    <a:pt x="3549" y="966"/>
                    <a:pt x="3535" y="943"/>
                  </a:cubicBezTo>
                  <a:cubicBezTo>
                    <a:pt x="3497" y="951"/>
                    <a:pt x="3483" y="988"/>
                    <a:pt x="3453" y="988"/>
                  </a:cubicBezTo>
                  <a:cubicBezTo>
                    <a:pt x="3446" y="1003"/>
                    <a:pt x="3453" y="1017"/>
                    <a:pt x="3446" y="1032"/>
                  </a:cubicBezTo>
                  <a:cubicBezTo>
                    <a:pt x="3438" y="1032"/>
                    <a:pt x="3423" y="1040"/>
                    <a:pt x="3416" y="1032"/>
                  </a:cubicBezTo>
                  <a:cubicBezTo>
                    <a:pt x="3408" y="1084"/>
                    <a:pt x="3401" y="1084"/>
                    <a:pt x="3349" y="1084"/>
                  </a:cubicBezTo>
                  <a:cubicBezTo>
                    <a:pt x="3349" y="1025"/>
                    <a:pt x="3327" y="1017"/>
                    <a:pt x="3275" y="1040"/>
                  </a:cubicBezTo>
                  <a:cubicBezTo>
                    <a:pt x="3260" y="1069"/>
                    <a:pt x="3245" y="1106"/>
                    <a:pt x="3200" y="1106"/>
                  </a:cubicBezTo>
                  <a:cubicBezTo>
                    <a:pt x="3193" y="1136"/>
                    <a:pt x="3252" y="1121"/>
                    <a:pt x="3267" y="1136"/>
                  </a:cubicBezTo>
                  <a:cubicBezTo>
                    <a:pt x="3312" y="1159"/>
                    <a:pt x="3282" y="1218"/>
                    <a:pt x="3304" y="1255"/>
                  </a:cubicBezTo>
                  <a:cubicBezTo>
                    <a:pt x="3364" y="1248"/>
                    <a:pt x="3327" y="1381"/>
                    <a:pt x="3341" y="1411"/>
                  </a:cubicBezTo>
                  <a:cubicBezTo>
                    <a:pt x="3356" y="1448"/>
                    <a:pt x="3394" y="1418"/>
                    <a:pt x="3408" y="1463"/>
                  </a:cubicBezTo>
                  <a:cubicBezTo>
                    <a:pt x="3423" y="1515"/>
                    <a:pt x="3386" y="1582"/>
                    <a:pt x="3386" y="1634"/>
                  </a:cubicBezTo>
                  <a:cubicBezTo>
                    <a:pt x="3423" y="1641"/>
                    <a:pt x="3460" y="1611"/>
                    <a:pt x="3490" y="1619"/>
                  </a:cubicBezTo>
                  <a:cubicBezTo>
                    <a:pt x="3490" y="1641"/>
                    <a:pt x="3512" y="1649"/>
                    <a:pt x="3520" y="1663"/>
                  </a:cubicBezTo>
                  <a:cubicBezTo>
                    <a:pt x="3520" y="1678"/>
                    <a:pt x="3520" y="1701"/>
                    <a:pt x="3512" y="1716"/>
                  </a:cubicBezTo>
                  <a:cubicBezTo>
                    <a:pt x="3497" y="1716"/>
                    <a:pt x="3483" y="1723"/>
                    <a:pt x="3490" y="1745"/>
                  </a:cubicBezTo>
                  <a:cubicBezTo>
                    <a:pt x="3520" y="1753"/>
                    <a:pt x="3535" y="1775"/>
                    <a:pt x="3549" y="1805"/>
                  </a:cubicBezTo>
                  <a:cubicBezTo>
                    <a:pt x="3527" y="1812"/>
                    <a:pt x="3520" y="1849"/>
                    <a:pt x="3520" y="1879"/>
                  </a:cubicBezTo>
                  <a:cubicBezTo>
                    <a:pt x="3475" y="1886"/>
                    <a:pt x="3453" y="1923"/>
                    <a:pt x="3416" y="1938"/>
                  </a:cubicBezTo>
                  <a:cubicBezTo>
                    <a:pt x="3416" y="1901"/>
                    <a:pt x="3371" y="1894"/>
                    <a:pt x="3349" y="1901"/>
                  </a:cubicBezTo>
                  <a:cubicBezTo>
                    <a:pt x="3349" y="1908"/>
                    <a:pt x="3341" y="1923"/>
                    <a:pt x="3341" y="1931"/>
                  </a:cubicBezTo>
                  <a:cubicBezTo>
                    <a:pt x="3289" y="1923"/>
                    <a:pt x="3312" y="1849"/>
                    <a:pt x="3275" y="1827"/>
                  </a:cubicBezTo>
                  <a:cubicBezTo>
                    <a:pt x="3252" y="1805"/>
                    <a:pt x="3208" y="1827"/>
                    <a:pt x="3200" y="1782"/>
                  </a:cubicBezTo>
                  <a:cubicBezTo>
                    <a:pt x="3171" y="1805"/>
                    <a:pt x="3163" y="1834"/>
                    <a:pt x="3156" y="1871"/>
                  </a:cubicBezTo>
                  <a:cubicBezTo>
                    <a:pt x="3141" y="1871"/>
                    <a:pt x="3126" y="1864"/>
                    <a:pt x="3104" y="1864"/>
                  </a:cubicBezTo>
                  <a:cubicBezTo>
                    <a:pt x="3104" y="1819"/>
                    <a:pt x="3141" y="1738"/>
                    <a:pt x="3082" y="1723"/>
                  </a:cubicBezTo>
                  <a:cubicBezTo>
                    <a:pt x="3044" y="1716"/>
                    <a:pt x="3022" y="1716"/>
                    <a:pt x="3030" y="1671"/>
                  </a:cubicBezTo>
                  <a:cubicBezTo>
                    <a:pt x="3119" y="1649"/>
                    <a:pt x="2992" y="1463"/>
                    <a:pt x="2992" y="1418"/>
                  </a:cubicBezTo>
                  <a:cubicBezTo>
                    <a:pt x="3022" y="1426"/>
                    <a:pt x="3052" y="1396"/>
                    <a:pt x="3074" y="1381"/>
                  </a:cubicBezTo>
                  <a:cubicBezTo>
                    <a:pt x="3111" y="1352"/>
                    <a:pt x="3104" y="1314"/>
                    <a:pt x="3111" y="1270"/>
                  </a:cubicBezTo>
                  <a:cubicBezTo>
                    <a:pt x="3149" y="1277"/>
                    <a:pt x="3134" y="1225"/>
                    <a:pt x="3178" y="1233"/>
                  </a:cubicBezTo>
                  <a:cubicBezTo>
                    <a:pt x="3178" y="1211"/>
                    <a:pt x="3163" y="1196"/>
                    <a:pt x="3156" y="1173"/>
                  </a:cubicBezTo>
                  <a:cubicBezTo>
                    <a:pt x="3111" y="1173"/>
                    <a:pt x="3119" y="1106"/>
                    <a:pt x="3119" y="1077"/>
                  </a:cubicBezTo>
                  <a:cubicBezTo>
                    <a:pt x="3119" y="1055"/>
                    <a:pt x="3111" y="1032"/>
                    <a:pt x="3119" y="1017"/>
                  </a:cubicBezTo>
                  <a:cubicBezTo>
                    <a:pt x="3134" y="988"/>
                    <a:pt x="3163" y="1010"/>
                    <a:pt x="3186" y="1003"/>
                  </a:cubicBezTo>
                  <a:cubicBezTo>
                    <a:pt x="3186" y="973"/>
                    <a:pt x="3171" y="921"/>
                    <a:pt x="3223" y="921"/>
                  </a:cubicBezTo>
                  <a:cubicBezTo>
                    <a:pt x="3260" y="914"/>
                    <a:pt x="3312" y="936"/>
                    <a:pt x="3349" y="914"/>
                  </a:cubicBezTo>
                  <a:cubicBezTo>
                    <a:pt x="3371" y="906"/>
                    <a:pt x="3379" y="884"/>
                    <a:pt x="3401" y="891"/>
                  </a:cubicBezTo>
                  <a:cubicBezTo>
                    <a:pt x="3423" y="891"/>
                    <a:pt x="3438" y="891"/>
                    <a:pt x="3453" y="876"/>
                  </a:cubicBezTo>
                  <a:cubicBezTo>
                    <a:pt x="3475" y="847"/>
                    <a:pt x="3431" y="824"/>
                    <a:pt x="3431" y="795"/>
                  </a:cubicBezTo>
                  <a:lnTo>
                    <a:pt x="3438" y="795"/>
                  </a:lnTo>
                  <a:cubicBezTo>
                    <a:pt x="3438" y="772"/>
                    <a:pt x="3438" y="713"/>
                    <a:pt x="3475" y="750"/>
                  </a:cubicBezTo>
                  <a:cubicBezTo>
                    <a:pt x="3475" y="713"/>
                    <a:pt x="3505" y="683"/>
                    <a:pt x="3512" y="654"/>
                  </a:cubicBezTo>
                  <a:cubicBezTo>
                    <a:pt x="3549" y="631"/>
                    <a:pt x="3542" y="564"/>
                    <a:pt x="3579" y="542"/>
                  </a:cubicBezTo>
                  <a:cubicBezTo>
                    <a:pt x="3579" y="527"/>
                    <a:pt x="3579" y="498"/>
                    <a:pt x="3586" y="483"/>
                  </a:cubicBezTo>
                  <a:cubicBezTo>
                    <a:pt x="3624" y="475"/>
                    <a:pt x="3594" y="423"/>
                    <a:pt x="3653" y="423"/>
                  </a:cubicBezTo>
                  <a:cubicBezTo>
                    <a:pt x="3646" y="379"/>
                    <a:pt x="3668" y="327"/>
                    <a:pt x="3653" y="282"/>
                  </a:cubicBezTo>
                  <a:cubicBezTo>
                    <a:pt x="3639" y="238"/>
                    <a:pt x="3601" y="215"/>
                    <a:pt x="3609" y="171"/>
                  </a:cubicBezTo>
                  <a:cubicBezTo>
                    <a:pt x="3609" y="134"/>
                    <a:pt x="3609" y="119"/>
                    <a:pt x="3572" y="104"/>
                  </a:cubicBezTo>
                  <a:cubicBezTo>
                    <a:pt x="3549" y="104"/>
                    <a:pt x="3520" y="97"/>
                    <a:pt x="3520" y="67"/>
                  </a:cubicBezTo>
                  <a:cubicBezTo>
                    <a:pt x="3483" y="37"/>
                    <a:pt x="3468" y="15"/>
                    <a:pt x="3416" y="15"/>
                  </a:cubicBezTo>
                  <a:cubicBezTo>
                    <a:pt x="3416" y="22"/>
                    <a:pt x="3408" y="30"/>
                    <a:pt x="3408" y="37"/>
                  </a:cubicBezTo>
                  <a:cubicBezTo>
                    <a:pt x="3379" y="37"/>
                    <a:pt x="3341" y="37"/>
                    <a:pt x="3304" y="37"/>
                  </a:cubicBezTo>
                  <a:cubicBezTo>
                    <a:pt x="3275" y="30"/>
                    <a:pt x="3245" y="7"/>
                    <a:pt x="3208" y="7"/>
                  </a:cubicBezTo>
                  <a:cubicBezTo>
                    <a:pt x="3178" y="0"/>
                    <a:pt x="3149" y="15"/>
                    <a:pt x="3119" y="7"/>
                  </a:cubicBezTo>
                  <a:cubicBezTo>
                    <a:pt x="3111" y="7"/>
                    <a:pt x="3104" y="7"/>
                    <a:pt x="3096" y="0"/>
                  </a:cubicBezTo>
                  <a:cubicBezTo>
                    <a:pt x="3082" y="22"/>
                    <a:pt x="3059" y="45"/>
                    <a:pt x="3052" y="59"/>
                  </a:cubicBezTo>
                  <a:lnTo>
                    <a:pt x="3030" y="119"/>
                  </a:lnTo>
                  <a:cubicBezTo>
                    <a:pt x="2955" y="126"/>
                    <a:pt x="2814" y="82"/>
                    <a:pt x="2799" y="193"/>
                  </a:cubicBezTo>
                  <a:cubicBezTo>
                    <a:pt x="2770" y="208"/>
                    <a:pt x="2733" y="201"/>
                    <a:pt x="2710" y="223"/>
                  </a:cubicBezTo>
                  <a:cubicBezTo>
                    <a:pt x="2695" y="238"/>
                    <a:pt x="2688" y="253"/>
                    <a:pt x="2673" y="260"/>
                  </a:cubicBezTo>
                  <a:cubicBezTo>
                    <a:pt x="2636" y="290"/>
                    <a:pt x="2584" y="304"/>
                    <a:pt x="2539" y="304"/>
                  </a:cubicBezTo>
                  <a:cubicBezTo>
                    <a:pt x="2517" y="349"/>
                    <a:pt x="2443" y="349"/>
                    <a:pt x="2398" y="371"/>
                  </a:cubicBezTo>
                  <a:cubicBezTo>
                    <a:pt x="2376" y="386"/>
                    <a:pt x="2361" y="401"/>
                    <a:pt x="2347" y="423"/>
                  </a:cubicBezTo>
                  <a:cubicBezTo>
                    <a:pt x="2324" y="461"/>
                    <a:pt x="2287" y="453"/>
                    <a:pt x="2250" y="461"/>
                  </a:cubicBezTo>
                  <a:cubicBezTo>
                    <a:pt x="2183" y="475"/>
                    <a:pt x="2131" y="550"/>
                    <a:pt x="2101" y="602"/>
                  </a:cubicBezTo>
                  <a:cubicBezTo>
                    <a:pt x="2072" y="654"/>
                    <a:pt x="2012" y="676"/>
                    <a:pt x="1953" y="676"/>
                  </a:cubicBezTo>
                  <a:cubicBezTo>
                    <a:pt x="1916" y="698"/>
                    <a:pt x="1945" y="772"/>
                    <a:pt x="1886" y="765"/>
                  </a:cubicBezTo>
                  <a:cubicBezTo>
                    <a:pt x="1908" y="832"/>
                    <a:pt x="1931" y="899"/>
                    <a:pt x="1945" y="966"/>
                  </a:cubicBezTo>
                  <a:cubicBezTo>
                    <a:pt x="1953" y="1010"/>
                    <a:pt x="1982" y="1032"/>
                    <a:pt x="2020" y="1047"/>
                  </a:cubicBezTo>
                  <a:cubicBezTo>
                    <a:pt x="2087" y="1069"/>
                    <a:pt x="2183" y="1084"/>
                    <a:pt x="2257" y="1077"/>
                  </a:cubicBezTo>
                  <a:cubicBezTo>
                    <a:pt x="2279" y="1069"/>
                    <a:pt x="2294" y="1055"/>
                    <a:pt x="2317" y="1062"/>
                  </a:cubicBezTo>
                  <a:cubicBezTo>
                    <a:pt x="2339" y="1062"/>
                    <a:pt x="2354" y="1077"/>
                    <a:pt x="2376" y="1084"/>
                  </a:cubicBezTo>
                  <a:cubicBezTo>
                    <a:pt x="2391" y="1032"/>
                    <a:pt x="2398" y="1003"/>
                    <a:pt x="2458" y="1010"/>
                  </a:cubicBezTo>
                  <a:cubicBezTo>
                    <a:pt x="2465" y="1040"/>
                    <a:pt x="2443" y="1092"/>
                    <a:pt x="2495" y="1092"/>
                  </a:cubicBezTo>
                  <a:cubicBezTo>
                    <a:pt x="2495" y="1144"/>
                    <a:pt x="2495" y="1196"/>
                    <a:pt x="2487" y="1248"/>
                  </a:cubicBezTo>
                  <a:cubicBezTo>
                    <a:pt x="2465" y="1248"/>
                    <a:pt x="2443" y="1255"/>
                    <a:pt x="2421" y="1255"/>
                  </a:cubicBezTo>
                  <a:cubicBezTo>
                    <a:pt x="2421" y="1248"/>
                    <a:pt x="2413" y="1225"/>
                    <a:pt x="2421" y="1218"/>
                  </a:cubicBezTo>
                  <a:cubicBezTo>
                    <a:pt x="2376" y="1233"/>
                    <a:pt x="2347" y="1263"/>
                    <a:pt x="2302" y="1263"/>
                  </a:cubicBezTo>
                  <a:cubicBezTo>
                    <a:pt x="2242" y="1270"/>
                    <a:pt x="2190" y="1255"/>
                    <a:pt x="2139" y="1263"/>
                  </a:cubicBezTo>
                  <a:cubicBezTo>
                    <a:pt x="2131" y="1285"/>
                    <a:pt x="2124" y="1307"/>
                    <a:pt x="2131" y="1329"/>
                  </a:cubicBezTo>
                  <a:cubicBezTo>
                    <a:pt x="2139" y="1359"/>
                    <a:pt x="2168" y="1366"/>
                    <a:pt x="2168" y="1396"/>
                  </a:cubicBezTo>
                  <a:cubicBezTo>
                    <a:pt x="2176" y="1441"/>
                    <a:pt x="2116" y="1433"/>
                    <a:pt x="2087" y="1433"/>
                  </a:cubicBezTo>
                  <a:cubicBezTo>
                    <a:pt x="2101" y="1485"/>
                    <a:pt x="2131" y="1500"/>
                    <a:pt x="2190" y="1508"/>
                  </a:cubicBezTo>
                  <a:cubicBezTo>
                    <a:pt x="2235" y="1522"/>
                    <a:pt x="2257" y="1545"/>
                    <a:pt x="2257" y="1597"/>
                  </a:cubicBezTo>
                  <a:cubicBezTo>
                    <a:pt x="2250" y="1634"/>
                    <a:pt x="2235" y="1701"/>
                    <a:pt x="2183" y="1686"/>
                  </a:cubicBezTo>
                  <a:cubicBezTo>
                    <a:pt x="2146" y="1678"/>
                    <a:pt x="2139" y="1634"/>
                    <a:pt x="2094" y="1649"/>
                  </a:cubicBezTo>
                  <a:cubicBezTo>
                    <a:pt x="2109" y="1693"/>
                    <a:pt x="2079" y="1871"/>
                    <a:pt x="2139" y="1886"/>
                  </a:cubicBezTo>
                  <a:cubicBezTo>
                    <a:pt x="2139" y="1931"/>
                    <a:pt x="2064" y="1923"/>
                    <a:pt x="2064" y="1961"/>
                  </a:cubicBezTo>
                  <a:cubicBezTo>
                    <a:pt x="2034" y="1968"/>
                    <a:pt x="2020" y="1938"/>
                    <a:pt x="2027" y="1908"/>
                  </a:cubicBezTo>
                  <a:cubicBezTo>
                    <a:pt x="1990" y="1916"/>
                    <a:pt x="1975" y="1894"/>
                    <a:pt x="1945" y="1894"/>
                  </a:cubicBezTo>
                  <a:cubicBezTo>
                    <a:pt x="1945" y="1871"/>
                    <a:pt x="1945" y="1849"/>
                    <a:pt x="1945" y="1834"/>
                  </a:cubicBezTo>
                  <a:lnTo>
                    <a:pt x="1938" y="1842"/>
                  </a:lnTo>
                  <a:cubicBezTo>
                    <a:pt x="1923" y="1849"/>
                    <a:pt x="1901" y="1849"/>
                    <a:pt x="1879" y="1849"/>
                  </a:cubicBezTo>
                  <a:cubicBezTo>
                    <a:pt x="1886" y="1857"/>
                    <a:pt x="1879" y="1871"/>
                    <a:pt x="1879" y="1886"/>
                  </a:cubicBezTo>
                  <a:cubicBezTo>
                    <a:pt x="1834" y="1864"/>
                    <a:pt x="1782" y="1864"/>
                    <a:pt x="1730" y="1857"/>
                  </a:cubicBezTo>
                  <a:cubicBezTo>
                    <a:pt x="1685" y="1842"/>
                    <a:pt x="1641" y="1819"/>
                    <a:pt x="1589" y="1834"/>
                  </a:cubicBezTo>
                  <a:cubicBezTo>
                    <a:pt x="1589" y="1871"/>
                    <a:pt x="1567" y="1923"/>
                    <a:pt x="1537" y="1961"/>
                  </a:cubicBezTo>
                  <a:cubicBezTo>
                    <a:pt x="1515" y="1983"/>
                    <a:pt x="1485" y="1976"/>
                    <a:pt x="1455" y="1990"/>
                  </a:cubicBezTo>
                  <a:cubicBezTo>
                    <a:pt x="1455" y="2013"/>
                    <a:pt x="1477" y="2035"/>
                    <a:pt x="1470" y="2065"/>
                  </a:cubicBezTo>
                  <a:cubicBezTo>
                    <a:pt x="1448" y="2065"/>
                    <a:pt x="1433" y="2072"/>
                    <a:pt x="1426" y="2094"/>
                  </a:cubicBezTo>
                  <a:cubicBezTo>
                    <a:pt x="1381" y="2094"/>
                    <a:pt x="1337" y="2072"/>
                    <a:pt x="1292" y="2087"/>
                  </a:cubicBezTo>
                  <a:cubicBezTo>
                    <a:pt x="1277" y="2109"/>
                    <a:pt x="1292" y="2139"/>
                    <a:pt x="1277" y="2161"/>
                  </a:cubicBezTo>
                  <a:cubicBezTo>
                    <a:pt x="1225" y="2131"/>
                    <a:pt x="1232" y="2094"/>
                    <a:pt x="1158" y="2094"/>
                  </a:cubicBezTo>
                  <a:cubicBezTo>
                    <a:pt x="1151" y="2065"/>
                    <a:pt x="1151" y="1931"/>
                    <a:pt x="1210" y="1968"/>
                  </a:cubicBezTo>
                  <a:cubicBezTo>
                    <a:pt x="1247" y="1983"/>
                    <a:pt x="1262" y="1990"/>
                    <a:pt x="1307" y="1983"/>
                  </a:cubicBezTo>
                  <a:cubicBezTo>
                    <a:pt x="1351" y="1976"/>
                    <a:pt x="1374" y="1953"/>
                    <a:pt x="1418" y="1938"/>
                  </a:cubicBezTo>
                  <a:cubicBezTo>
                    <a:pt x="1411" y="1908"/>
                    <a:pt x="1366" y="1916"/>
                    <a:pt x="1359" y="1879"/>
                  </a:cubicBezTo>
                  <a:cubicBezTo>
                    <a:pt x="1351" y="1857"/>
                    <a:pt x="1374" y="1827"/>
                    <a:pt x="1374" y="1797"/>
                  </a:cubicBezTo>
                  <a:cubicBezTo>
                    <a:pt x="1381" y="1745"/>
                    <a:pt x="1344" y="1767"/>
                    <a:pt x="1344" y="1745"/>
                  </a:cubicBezTo>
                  <a:cubicBezTo>
                    <a:pt x="1337" y="1716"/>
                    <a:pt x="1351" y="1671"/>
                    <a:pt x="1381" y="1663"/>
                  </a:cubicBezTo>
                  <a:cubicBezTo>
                    <a:pt x="1455" y="1738"/>
                    <a:pt x="1463" y="1619"/>
                    <a:pt x="1455" y="1574"/>
                  </a:cubicBezTo>
                  <a:cubicBezTo>
                    <a:pt x="1433" y="1574"/>
                    <a:pt x="1411" y="1574"/>
                    <a:pt x="1396" y="1567"/>
                  </a:cubicBezTo>
                  <a:cubicBezTo>
                    <a:pt x="1388" y="1522"/>
                    <a:pt x="1396" y="1485"/>
                    <a:pt x="1396" y="1448"/>
                  </a:cubicBezTo>
                  <a:cubicBezTo>
                    <a:pt x="1337" y="1441"/>
                    <a:pt x="1322" y="1448"/>
                    <a:pt x="1285" y="1471"/>
                  </a:cubicBezTo>
                  <a:cubicBezTo>
                    <a:pt x="1262" y="1485"/>
                    <a:pt x="1195" y="1537"/>
                    <a:pt x="1210" y="1471"/>
                  </a:cubicBezTo>
                  <a:cubicBezTo>
                    <a:pt x="1151" y="1463"/>
                    <a:pt x="1077" y="1456"/>
                    <a:pt x="1017" y="1448"/>
                  </a:cubicBezTo>
                  <a:cubicBezTo>
                    <a:pt x="965" y="1433"/>
                    <a:pt x="980" y="1374"/>
                    <a:pt x="1032" y="1374"/>
                  </a:cubicBezTo>
                  <a:cubicBezTo>
                    <a:pt x="1032" y="1344"/>
                    <a:pt x="1017" y="1292"/>
                    <a:pt x="1069" y="1300"/>
                  </a:cubicBezTo>
                  <a:cubicBezTo>
                    <a:pt x="1077" y="1263"/>
                    <a:pt x="1077" y="1233"/>
                    <a:pt x="1077" y="1196"/>
                  </a:cubicBezTo>
                  <a:cubicBezTo>
                    <a:pt x="1032" y="1196"/>
                    <a:pt x="965" y="1181"/>
                    <a:pt x="935" y="1218"/>
                  </a:cubicBezTo>
                  <a:cubicBezTo>
                    <a:pt x="921" y="1255"/>
                    <a:pt x="935" y="1292"/>
                    <a:pt x="898" y="1314"/>
                  </a:cubicBezTo>
                  <a:cubicBezTo>
                    <a:pt x="869" y="1329"/>
                    <a:pt x="817" y="1329"/>
                    <a:pt x="794" y="1300"/>
                  </a:cubicBezTo>
                  <a:cubicBezTo>
                    <a:pt x="780" y="1277"/>
                    <a:pt x="780" y="1240"/>
                    <a:pt x="750" y="1233"/>
                  </a:cubicBezTo>
                  <a:cubicBezTo>
                    <a:pt x="690" y="1314"/>
                    <a:pt x="824" y="1374"/>
                    <a:pt x="824" y="1456"/>
                  </a:cubicBezTo>
                  <a:cubicBezTo>
                    <a:pt x="794" y="1463"/>
                    <a:pt x="787" y="1433"/>
                    <a:pt x="765" y="1418"/>
                  </a:cubicBezTo>
                  <a:cubicBezTo>
                    <a:pt x="750" y="1396"/>
                    <a:pt x="728" y="1418"/>
                    <a:pt x="735" y="1381"/>
                  </a:cubicBezTo>
                  <a:cubicBezTo>
                    <a:pt x="661" y="1366"/>
                    <a:pt x="713" y="1441"/>
                    <a:pt x="713" y="1471"/>
                  </a:cubicBezTo>
                  <a:cubicBezTo>
                    <a:pt x="713" y="1500"/>
                    <a:pt x="668" y="1500"/>
                    <a:pt x="653" y="1522"/>
                  </a:cubicBezTo>
                  <a:cubicBezTo>
                    <a:pt x="638" y="1545"/>
                    <a:pt x="653" y="1574"/>
                    <a:pt x="653" y="1597"/>
                  </a:cubicBezTo>
                  <a:cubicBezTo>
                    <a:pt x="675" y="1604"/>
                    <a:pt x="713" y="1611"/>
                    <a:pt x="720" y="1634"/>
                  </a:cubicBezTo>
                  <a:cubicBezTo>
                    <a:pt x="690" y="1649"/>
                    <a:pt x="713" y="1686"/>
                    <a:pt x="698" y="1716"/>
                  </a:cubicBezTo>
                  <a:cubicBezTo>
                    <a:pt x="690" y="1738"/>
                    <a:pt x="668" y="1753"/>
                    <a:pt x="653" y="1775"/>
                  </a:cubicBezTo>
                  <a:cubicBezTo>
                    <a:pt x="690" y="1775"/>
                    <a:pt x="735" y="1775"/>
                    <a:pt x="772" y="1775"/>
                  </a:cubicBezTo>
                  <a:cubicBezTo>
                    <a:pt x="772" y="1812"/>
                    <a:pt x="772" y="1857"/>
                    <a:pt x="787" y="1886"/>
                  </a:cubicBezTo>
                  <a:cubicBezTo>
                    <a:pt x="802" y="1916"/>
                    <a:pt x="817" y="1946"/>
                    <a:pt x="794" y="1976"/>
                  </a:cubicBezTo>
                  <a:cubicBezTo>
                    <a:pt x="772" y="1998"/>
                    <a:pt x="750" y="2013"/>
                    <a:pt x="750" y="2050"/>
                  </a:cubicBezTo>
                  <a:cubicBezTo>
                    <a:pt x="742" y="2079"/>
                    <a:pt x="750" y="2116"/>
                    <a:pt x="750" y="2146"/>
                  </a:cubicBezTo>
                  <a:cubicBezTo>
                    <a:pt x="750" y="2198"/>
                    <a:pt x="742" y="2258"/>
                    <a:pt x="690" y="2287"/>
                  </a:cubicBezTo>
                  <a:cubicBezTo>
                    <a:pt x="631" y="2324"/>
                    <a:pt x="549" y="2332"/>
                    <a:pt x="483" y="2354"/>
                  </a:cubicBezTo>
                  <a:cubicBezTo>
                    <a:pt x="483" y="2399"/>
                    <a:pt x="505" y="2413"/>
                    <a:pt x="468" y="2443"/>
                  </a:cubicBezTo>
                  <a:cubicBezTo>
                    <a:pt x="490" y="2458"/>
                    <a:pt x="616" y="2495"/>
                    <a:pt x="579" y="2532"/>
                  </a:cubicBezTo>
                  <a:cubicBezTo>
                    <a:pt x="527" y="2584"/>
                    <a:pt x="438" y="2555"/>
                    <a:pt x="393" y="2621"/>
                  </a:cubicBezTo>
                  <a:cubicBezTo>
                    <a:pt x="386" y="2614"/>
                    <a:pt x="334" y="2592"/>
                    <a:pt x="327" y="2614"/>
                  </a:cubicBezTo>
                  <a:cubicBezTo>
                    <a:pt x="327" y="2621"/>
                    <a:pt x="327" y="2621"/>
                    <a:pt x="319" y="2621"/>
                  </a:cubicBezTo>
                  <a:cubicBezTo>
                    <a:pt x="312" y="2614"/>
                    <a:pt x="312" y="2614"/>
                    <a:pt x="304" y="2614"/>
                  </a:cubicBezTo>
                  <a:cubicBezTo>
                    <a:pt x="304" y="2636"/>
                    <a:pt x="297" y="2651"/>
                    <a:pt x="297" y="2666"/>
                  </a:cubicBezTo>
                  <a:cubicBezTo>
                    <a:pt x="297" y="2703"/>
                    <a:pt x="297" y="2748"/>
                    <a:pt x="341" y="2763"/>
                  </a:cubicBezTo>
                  <a:cubicBezTo>
                    <a:pt x="378" y="2770"/>
                    <a:pt x="408" y="2755"/>
                    <a:pt x="401" y="2807"/>
                  </a:cubicBezTo>
                  <a:cubicBezTo>
                    <a:pt x="401" y="2852"/>
                    <a:pt x="371" y="2889"/>
                    <a:pt x="341" y="2918"/>
                  </a:cubicBezTo>
                  <a:cubicBezTo>
                    <a:pt x="304" y="2955"/>
                    <a:pt x="289" y="2948"/>
                    <a:pt x="230" y="2948"/>
                  </a:cubicBezTo>
                  <a:cubicBezTo>
                    <a:pt x="223" y="2970"/>
                    <a:pt x="208" y="3000"/>
                    <a:pt x="185" y="3015"/>
                  </a:cubicBezTo>
                  <a:cubicBezTo>
                    <a:pt x="156" y="3045"/>
                    <a:pt x="119" y="3015"/>
                    <a:pt x="81" y="3023"/>
                  </a:cubicBezTo>
                  <a:cubicBezTo>
                    <a:pt x="59" y="3133"/>
                    <a:pt x="245" y="3045"/>
                    <a:pt x="230" y="3163"/>
                  </a:cubicBezTo>
                  <a:cubicBezTo>
                    <a:pt x="223" y="3163"/>
                    <a:pt x="0" y="3163"/>
                    <a:pt x="52" y="3222"/>
                  </a:cubicBezTo>
                  <a:cubicBezTo>
                    <a:pt x="74" y="3259"/>
                    <a:pt x="89" y="3289"/>
                    <a:pt x="111" y="3326"/>
                  </a:cubicBezTo>
                  <a:cubicBezTo>
                    <a:pt x="119" y="3348"/>
                    <a:pt x="81" y="3385"/>
                    <a:pt x="89" y="3422"/>
                  </a:cubicBezTo>
                  <a:cubicBezTo>
                    <a:pt x="89" y="3445"/>
                    <a:pt x="96" y="3459"/>
                    <a:pt x="111" y="3474"/>
                  </a:cubicBezTo>
                  <a:cubicBezTo>
                    <a:pt x="133" y="3482"/>
                    <a:pt x="156" y="3497"/>
                    <a:pt x="178" y="3504"/>
                  </a:cubicBezTo>
                  <a:cubicBezTo>
                    <a:pt x="252" y="3526"/>
                    <a:pt x="238" y="3445"/>
                    <a:pt x="289" y="3445"/>
                  </a:cubicBezTo>
                  <a:cubicBezTo>
                    <a:pt x="297" y="3445"/>
                    <a:pt x="371" y="3519"/>
                    <a:pt x="371" y="3512"/>
                  </a:cubicBezTo>
                  <a:cubicBezTo>
                    <a:pt x="378" y="3579"/>
                    <a:pt x="371" y="3645"/>
                    <a:pt x="423" y="3697"/>
                  </a:cubicBezTo>
                  <a:cubicBezTo>
                    <a:pt x="475" y="3749"/>
                    <a:pt x="564" y="3697"/>
                    <a:pt x="623" y="3705"/>
                  </a:cubicBezTo>
                  <a:cubicBezTo>
                    <a:pt x="698" y="3712"/>
                    <a:pt x="728" y="3734"/>
                    <a:pt x="757" y="3801"/>
                  </a:cubicBezTo>
                  <a:cubicBezTo>
                    <a:pt x="787" y="3861"/>
                    <a:pt x="802" y="3898"/>
                    <a:pt x="869" y="3890"/>
                  </a:cubicBezTo>
                  <a:cubicBezTo>
                    <a:pt x="906" y="3890"/>
                    <a:pt x="928" y="3913"/>
                    <a:pt x="958" y="3905"/>
                  </a:cubicBezTo>
                  <a:cubicBezTo>
                    <a:pt x="995" y="3898"/>
                    <a:pt x="1017" y="3890"/>
                    <a:pt x="1054" y="3913"/>
                  </a:cubicBezTo>
                  <a:cubicBezTo>
                    <a:pt x="1121" y="3942"/>
                    <a:pt x="1210" y="3905"/>
                    <a:pt x="1285" y="3913"/>
                  </a:cubicBezTo>
                  <a:cubicBezTo>
                    <a:pt x="1322" y="3913"/>
                    <a:pt x="1344" y="3905"/>
                    <a:pt x="1366" y="3942"/>
                  </a:cubicBezTo>
                  <a:cubicBezTo>
                    <a:pt x="1374" y="3957"/>
                    <a:pt x="1411" y="3957"/>
                    <a:pt x="1433" y="3965"/>
                  </a:cubicBezTo>
                  <a:cubicBezTo>
                    <a:pt x="1470" y="3979"/>
                    <a:pt x="1477" y="4091"/>
                    <a:pt x="1463" y="4128"/>
                  </a:cubicBezTo>
                  <a:cubicBezTo>
                    <a:pt x="1455" y="4128"/>
                    <a:pt x="1455" y="4128"/>
                    <a:pt x="1455" y="4128"/>
                  </a:cubicBezTo>
                  <a:cubicBezTo>
                    <a:pt x="1455" y="4173"/>
                    <a:pt x="1544" y="4158"/>
                    <a:pt x="1574" y="4158"/>
                  </a:cubicBezTo>
                  <a:cubicBezTo>
                    <a:pt x="1596" y="4158"/>
                    <a:pt x="1619" y="4165"/>
                    <a:pt x="1641" y="4158"/>
                  </a:cubicBezTo>
                  <a:cubicBezTo>
                    <a:pt x="1671" y="4158"/>
                    <a:pt x="1656" y="4121"/>
                    <a:pt x="1663" y="4098"/>
                  </a:cubicBezTo>
                  <a:cubicBezTo>
                    <a:pt x="1685" y="4098"/>
                    <a:pt x="1715" y="4113"/>
                    <a:pt x="1737" y="4106"/>
                  </a:cubicBezTo>
                  <a:cubicBezTo>
                    <a:pt x="1760" y="4098"/>
                    <a:pt x="1775" y="4069"/>
                    <a:pt x="1797" y="4076"/>
                  </a:cubicBezTo>
                  <a:cubicBezTo>
                    <a:pt x="1804" y="4039"/>
                    <a:pt x="1789" y="4031"/>
                    <a:pt x="1760" y="4016"/>
                  </a:cubicBezTo>
                  <a:cubicBezTo>
                    <a:pt x="1775" y="3994"/>
                    <a:pt x="1797" y="3957"/>
                    <a:pt x="1834" y="3957"/>
                  </a:cubicBezTo>
                  <a:cubicBezTo>
                    <a:pt x="1834" y="3935"/>
                    <a:pt x="1849" y="3935"/>
                    <a:pt x="1864" y="3927"/>
                  </a:cubicBezTo>
                  <a:cubicBezTo>
                    <a:pt x="1893" y="3913"/>
                    <a:pt x="1893" y="3876"/>
                    <a:pt x="1886" y="3853"/>
                  </a:cubicBezTo>
                  <a:cubicBezTo>
                    <a:pt x="1923" y="3846"/>
                    <a:pt x="1931" y="3831"/>
                    <a:pt x="1931" y="3801"/>
                  </a:cubicBezTo>
                  <a:cubicBezTo>
                    <a:pt x="1982" y="3801"/>
                    <a:pt x="2012" y="3771"/>
                    <a:pt x="2057" y="3764"/>
                  </a:cubicBezTo>
                  <a:cubicBezTo>
                    <a:pt x="2079" y="3757"/>
                    <a:pt x="2146" y="3749"/>
                    <a:pt x="2146" y="3786"/>
                  </a:cubicBezTo>
                  <a:cubicBezTo>
                    <a:pt x="2161" y="3771"/>
                    <a:pt x="2190" y="3779"/>
                    <a:pt x="2213" y="3779"/>
                  </a:cubicBezTo>
                  <a:cubicBezTo>
                    <a:pt x="2250" y="3727"/>
                    <a:pt x="2279" y="3697"/>
                    <a:pt x="2354" y="3712"/>
                  </a:cubicBezTo>
                  <a:cubicBezTo>
                    <a:pt x="2421" y="3727"/>
                    <a:pt x="2428" y="3831"/>
                    <a:pt x="2473" y="3883"/>
                  </a:cubicBezTo>
                  <a:cubicBezTo>
                    <a:pt x="2458" y="3883"/>
                    <a:pt x="2443" y="3890"/>
                    <a:pt x="2435" y="3905"/>
                  </a:cubicBezTo>
                  <a:cubicBezTo>
                    <a:pt x="2435" y="3898"/>
                    <a:pt x="2428" y="3883"/>
                    <a:pt x="2428" y="3876"/>
                  </a:cubicBezTo>
                  <a:cubicBezTo>
                    <a:pt x="2406" y="3890"/>
                    <a:pt x="2361" y="3876"/>
                    <a:pt x="2332" y="3876"/>
                  </a:cubicBezTo>
                  <a:cubicBezTo>
                    <a:pt x="2347" y="3905"/>
                    <a:pt x="2354" y="3987"/>
                    <a:pt x="2391" y="3994"/>
                  </a:cubicBezTo>
                  <a:cubicBezTo>
                    <a:pt x="2391" y="3979"/>
                    <a:pt x="2421" y="3920"/>
                    <a:pt x="2435" y="3957"/>
                  </a:cubicBezTo>
                  <a:cubicBezTo>
                    <a:pt x="2465" y="3994"/>
                    <a:pt x="2473" y="3979"/>
                    <a:pt x="2510" y="3987"/>
                  </a:cubicBezTo>
                  <a:cubicBezTo>
                    <a:pt x="2621" y="4009"/>
                    <a:pt x="2703" y="3950"/>
                    <a:pt x="2799" y="3950"/>
                  </a:cubicBezTo>
                  <a:cubicBezTo>
                    <a:pt x="2807" y="3905"/>
                    <a:pt x="2851" y="3853"/>
                    <a:pt x="2903" y="3883"/>
                  </a:cubicBezTo>
                  <a:cubicBezTo>
                    <a:pt x="2926" y="3890"/>
                    <a:pt x="2948" y="3905"/>
                    <a:pt x="2970" y="3898"/>
                  </a:cubicBezTo>
                  <a:cubicBezTo>
                    <a:pt x="2992" y="3883"/>
                    <a:pt x="2985" y="3846"/>
                    <a:pt x="3015" y="3853"/>
                  </a:cubicBezTo>
                  <a:cubicBezTo>
                    <a:pt x="3015" y="3883"/>
                    <a:pt x="3007" y="3905"/>
                    <a:pt x="3015" y="3927"/>
                  </a:cubicBezTo>
                  <a:cubicBezTo>
                    <a:pt x="3030" y="3965"/>
                    <a:pt x="3067" y="3935"/>
                    <a:pt x="3074" y="3913"/>
                  </a:cubicBezTo>
                  <a:cubicBezTo>
                    <a:pt x="3119" y="3905"/>
                    <a:pt x="3149" y="3957"/>
                    <a:pt x="3186" y="3972"/>
                  </a:cubicBezTo>
                  <a:cubicBezTo>
                    <a:pt x="3245" y="4002"/>
                    <a:pt x="3312" y="3965"/>
                    <a:pt x="3371" y="3965"/>
                  </a:cubicBezTo>
                  <a:cubicBezTo>
                    <a:pt x="3371" y="3935"/>
                    <a:pt x="3371" y="3913"/>
                    <a:pt x="3371" y="3883"/>
                  </a:cubicBezTo>
                  <a:cubicBezTo>
                    <a:pt x="3416" y="3876"/>
                    <a:pt x="3460" y="3905"/>
                    <a:pt x="3505" y="3905"/>
                  </a:cubicBezTo>
                  <a:cubicBezTo>
                    <a:pt x="3505" y="3898"/>
                    <a:pt x="3505" y="3890"/>
                    <a:pt x="3505" y="3876"/>
                  </a:cubicBezTo>
                  <a:cubicBezTo>
                    <a:pt x="3520" y="3876"/>
                    <a:pt x="3535" y="3876"/>
                    <a:pt x="3549" y="3876"/>
                  </a:cubicBezTo>
                  <a:cubicBezTo>
                    <a:pt x="3557" y="3853"/>
                    <a:pt x="3564" y="3786"/>
                    <a:pt x="3601" y="3816"/>
                  </a:cubicBezTo>
                  <a:cubicBezTo>
                    <a:pt x="3631" y="3838"/>
                    <a:pt x="3624" y="3876"/>
                    <a:pt x="3676" y="3876"/>
                  </a:cubicBezTo>
                  <a:cubicBezTo>
                    <a:pt x="3713" y="3876"/>
                    <a:pt x="3750" y="3883"/>
                    <a:pt x="3750" y="3927"/>
                  </a:cubicBezTo>
                  <a:cubicBezTo>
                    <a:pt x="3750" y="3965"/>
                    <a:pt x="3839" y="3935"/>
                    <a:pt x="3854" y="3935"/>
                  </a:cubicBezTo>
                  <a:cubicBezTo>
                    <a:pt x="3913" y="3927"/>
                    <a:pt x="3943" y="3935"/>
                    <a:pt x="3995" y="3965"/>
                  </a:cubicBezTo>
                  <a:cubicBezTo>
                    <a:pt x="4032" y="3979"/>
                    <a:pt x="4077" y="3979"/>
                    <a:pt x="4121" y="3972"/>
                  </a:cubicBezTo>
                  <a:cubicBezTo>
                    <a:pt x="4166" y="3972"/>
                    <a:pt x="4181" y="3965"/>
                    <a:pt x="4210" y="3935"/>
                  </a:cubicBezTo>
                  <a:cubicBezTo>
                    <a:pt x="4218" y="3927"/>
                    <a:pt x="4240" y="3913"/>
                    <a:pt x="4247" y="3920"/>
                  </a:cubicBezTo>
                  <a:cubicBezTo>
                    <a:pt x="4270" y="3942"/>
                    <a:pt x="4277" y="3942"/>
                    <a:pt x="4307" y="3942"/>
                  </a:cubicBezTo>
                  <a:cubicBezTo>
                    <a:pt x="4314" y="3965"/>
                    <a:pt x="4351" y="3965"/>
                    <a:pt x="4366" y="3994"/>
                  </a:cubicBezTo>
                  <a:cubicBezTo>
                    <a:pt x="4388" y="4054"/>
                    <a:pt x="4433" y="4106"/>
                    <a:pt x="4500" y="4113"/>
                  </a:cubicBezTo>
                  <a:cubicBezTo>
                    <a:pt x="4522" y="4121"/>
                    <a:pt x="4552" y="4121"/>
                    <a:pt x="4567" y="4135"/>
                  </a:cubicBezTo>
                  <a:cubicBezTo>
                    <a:pt x="4641" y="4069"/>
                    <a:pt x="4641" y="3898"/>
                    <a:pt x="4648" y="3838"/>
                  </a:cubicBezTo>
                </a:path>
              </a:pathLst>
            </a:custGeom>
            <a:grpFill/>
            <a:ln w="6350" cap="flat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lIns="60927" tIns="30463" rIns="60927" bIns="30463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0" name="Freeform 2"/>
            <p:cNvSpPr>
              <a:spLocks noChangeArrowheads="1"/>
            </p:cNvSpPr>
            <p:nvPr/>
          </p:nvSpPr>
          <p:spPr bwMode="auto">
            <a:xfrm>
              <a:off x="8029079" y="6779588"/>
              <a:ext cx="1852987" cy="1514553"/>
            </a:xfrm>
            <a:custGeom>
              <a:avLst/>
              <a:gdLst>
                <a:gd name="T0" fmla="*/ 3112 w 4286"/>
                <a:gd name="T1" fmla="*/ 3452 h 3505"/>
                <a:gd name="T2" fmla="*/ 3283 w 4286"/>
                <a:gd name="T3" fmla="*/ 3496 h 3505"/>
                <a:gd name="T4" fmla="*/ 3409 w 4286"/>
                <a:gd name="T5" fmla="*/ 3088 h 3505"/>
                <a:gd name="T6" fmla="*/ 3684 w 4286"/>
                <a:gd name="T7" fmla="*/ 3117 h 3505"/>
                <a:gd name="T8" fmla="*/ 3654 w 4286"/>
                <a:gd name="T9" fmla="*/ 2805 h 3505"/>
                <a:gd name="T10" fmla="*/ 3951 w 4286"/>
                <a:gd name="T11" fmla="*/ 2605 h 3505"/>
                <a:gd name="T12" fmla="*/ 3795 w 4286"/>
                <a:gd name="T13" fmla="*/ 2382 h 3505"/>
                <a:gd name="T14" fmla="*/ 3988 w 4286"/>
                <a:gd name="T15" fmla="*/ 2263 h 3505"/>
                <a:gd name="T16" fmla="*/ 4062 w 4286"/>
                <a:gd name="T17" fmla="*/ 1804 h 3505"/>
                <a:gd name="T18" fmla="*/ 4181 w 4286"/>
                <a:gd name="T19" fmla="*/ 1403 h 3505"/>
                <a:gd name="T20" fmla="*/ 3958 w 4286"/>
                <a:gd name="T21" fmla="*/ 1210 h 3505"/>
                <a:gd name="T22" fmla="*/ 3602 w 4286"/>
                <a:gd name="T23" fmla="*/ 861 h 3505"/>
                <a:gd name="T24" fmla="*/ 3513 w 4286"/>
                <a:gd name="T25" fmla="*/ 415 h 3505"/>
                <a:gd name="T26" fmla="*/ 3119 w 4286"/>
                <a:gd name="T27" fmla="*/ 252 h 3505"/>
                <a:gd name="T28" fmla="*/ 2763 w 4286"/>
                <a:gd name="T29" fmla="*/ 133 h 3505"/>
                <a:gd name="T30" fmla="*/ 2347 w 4286"/>
                <a:gd name="T31" fmla="*/ 59 h 3505"/>
                <a:gd name="T32" fmla="*/ 2102 w 4286"/>
                <a:gd name="T33" fmla="*/ 44 h 3505"/>
                <a:gd name="T34" fmla="*/ 2117 w 4286"/>
                <a:gd name="T35" fmla="*/ 237 h 3505"/>
                <a:gd name="T36" fmla="*/ 1701 w 4286"/>
                <a:gd name="T37" fmla="*/ 141 h 3505"/>
                <a:gd name="T38" fmla="*/ 1270 w 4286"/>
                <a:gd name="T39" fmla="*/ 282 h 3505"/>
                <a:gd name="T40" fmla="*/ 891 w 4286"/>
                <a:gd name="T41" fmla="*/ 155 h 3505"/>
                <a:gd name="T42" fmla="*/ 572 w 4286"/>
                <a:gd name="T43" fmla="*/ 170 h 3505"/>
                <a:gd name="T44" fmla="*/ 194 w 4286"/>
                <a:gd name="T45" fmla="*/ 334 h 3505"/>
                <a:gd name="T46" fmla="*/ 15 w 4286"/>
                <a:gd name="T47" fmla="*/ 512 h 3505"/>
                <a:gd name="T48" fmla="*/ 401 w 4286"/>
                <a:gd name="T49" fmla="*/ 438 h 3505"/>
                <a:gd name="T50" fmla="*/ 194 w 4286"/>
                <a:gd name="T51" fmla="*/ 586 h 3505"/>
                <a:gd name="T52" fmla="*/ 320 w 4286"/>
                <a:gd name="T53" fmla="*/ 816 h 3505"/>
                <a:gd name="T54" fmla="*/ 349 w 4286"/>
                <a:gd name="T55" fmla="*/ 987 h 3505"/>
                <a:gd name="T56" fmla="*/ 869 w 4286"/>
                <a:gd name="T57" fmla="*/ 1307 h 3505"/>
                <a:gd name="T58" fmla="*/ 1330 w 4286"/>
                <a:gd name="T59" fmla="*/ 1225 h 3505"/>
                <a:gd name="T60" fmla="*/ 1567 w 4286"/>
                <a:gd name="T61" fmla="*/ 1113 h 3505"/>
                <a:gd name="T62" fmla="*/ 1389 w 4286"/>
                <a:gd name="T63" fmla="*/ 1477 h 3505"/>
                <a:gd name="T64" fmla="*/ 1159 w 4286"/>
                <a:gd name="T65" fmla="*/ 1537 h 3505"/>
                <a:gd name="T66" fmla="*/ 1010 w 4286"/>
                <a:gd name="T67" fmla="*/ 1618 h 3505"/>
                <a:gd name="T68" fmla="*/ 825 w 4286"/>
                <a:gd name="T69" fmla="*/ 1648 h 3505"/>
                <a:gd name="T70" fmla="*/ 624 w 4286"/>
                <a:gd name="T71" fmla="*/ 1707 h 3505"/>
                <a:gd name="T72" fmla="*/ 580 w 4286"/>
                <a:gd name="T73" fmla="*/ 1514 h 3505"/>
                <a:gd name="T74" fmla="*/ 728 w 4286"/>
                <a:gd name="T75" fmla="*/ 2026 h 3505"/>
                <a:gd name="T76" fmla="*/ 1166 w 4286"/>
                <a:gd name="T77" fmla="*/ 2546 h 3505"/>
                <a:gd name="T78" fmla="*/ 1545 w 4286"/>
                <a:gd name="T79" fmla="*/ 2850 h 3505"/>
                <a:gd name="T80" fmla="*/ 1998 w 4286"/>
                <a:gd name="T81" fmla="*/ 2880 h 3505"/>
                <a:gd name="T82" fmla="*/ 2280 w 4286"/>
                <a:gd name="T83" fmla="*/ 2754 h 3505"/>
                <a:gd name="T84" fmla="*/ 2629 w 4286"/>
                <a:gd name="T85" fmla="*/ 2598 h 3505"/>
                <a:gd name="T86" fmla="*/ 2785 w 4286"/>
                <a:gd name="T87" fmla="*/ 2070 h 3505"/>
                <a:gd name="T88" fmla="*/ 2956 w 4286"/>
                <a:gd name="T89" fmla="*/ 1922 h 3505"/>
                <a:gd name="T90" fmla="*/ 3260 w 4286"/>
                <a:gd name="T91" fmla="*/ 1907 h 3505"/>
                <a:gd name="T92" fmla="*/ 2963 w 4286"/>
                <a:gd name="T93" fmla="*/ 2011 h 3505"/>
                <a:gd name="T94" fmla="*/ 2971 w 4286"/>
                <a:gd name="T95" fmla="*/ 2182 h 3505"/>
                <a:gd name="T96" fmla="*/ 2978 w 4286"/>
                <a:gd name="T97" fmla="*/ 2390 h 3505"/>
                <a:gd name="T98" fmla="*/ 3030 w 4286"/>
                <a:gd name="T99" fmla="*/ 2479 h 3505"/>
                <a:gd name="T100" fmla="*/ 2978 w 4286"/>
                <a:gd name="T101" fmla="*/ 2709 h 3505"/>
                <a:gd name="T102" fmla="*/ 3053 w 4286"/>
                <a:gd name="T103" fmla="*/ 2850 h 3505"/>
                <a:gd name="T104" fmla="*/ 3082 w 4286"/>
                <a:gd name="T105" fmla="*/ 3013 h 3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286" h="3505">
                  <a:moveTo>
                    <a:pt x="3053" y="3259"/>
                  </a:moveTo>
                  <a:lnTo>
                    <a:pt x="3053" y="3259"/>
                  </a:lnTo>
                  <a:lnTo>
                    <a:pt x="3053" y="3266"/>
                  </a:lnTo>
                  <a:cubicBezTo>
                    <a:pt x="3105" y="3281"/>
                    <a:pt x="3201" y="3362"/>
                    <a:pt x="3208" y="3400"/>
                  </a:cubicBezTo>
                  <a:cubicBezTo>
                    <a:pt x="3216" y="3437"/>
                    <a:pt x="3171" y="3422"/>
                    <a:pt x="3149" y="3422"/>
                  </a:cubicBezTo>
                  <a:cubicBezTo>
                    <a:pt x="3142" y="3444"/>
                    <a:pt x="3119" y="3437"/>
                    <a:pt x="3112" y="3452"/>
                  </a:cubicBezTo>
                  <a:cubicBezTo>
                    <a:pt x="3112" y="3489"/>
                    <a:pt x="3164" y="3481"/>
                    <a:pt x="3179" y="3481"/>
                  </a:cubicBezTo>
                  <a:cubicBezTo>
                    <a:pt x="3179" y="3474"/>
                    <a:pt x="3186" y="3467"/>
                    <a:pt x="3186" y="3459"/>
                  </a:cubicBezTo>
                  <a:cubicBezTo>
                    <a:pt x="3194" y="3459"/>
                    <a:pt x="3201" y="3459"/>
                    <a:pt x="3208" y="3459"/>
                  </a:cubicBezTo>
                  <a:cubicBezTo>
                    <a:pt x="3216" y="3459"/>
                    <a:pt x="3216" y="3459"/>
                    <a:pt x="3216" y="3459"/>
                  </a:cubicBezTo>
                  <a:cubicBezTo>
                    <a:pt x="3216" y="3474"/>
                    <a:pt x="3216" y="3481"/>
                    <a:pt x="3216" y="3496"/>
                  </a:cubicBezTo>
                  <a:cubicBezTo>
                    <a:pt x="3238" y="3489"/>
                    <a:pt x="3260" y="3504"/>
                    <a:pt x="3283" y="3496"/>
                  </a:cubicBezTo>
                  <a:cubicBezTo>
                    <a:pt x="3290" y="3496"/>
                    <a:pt x="3298" y="3474"/>
                    <a:pt x="3305" y="3474"/>
                  </a:cubicBezTo>
                  <a:cubicBezTo>
                    <a:pt x="3320" y="3474"/>
                    <a:pt x="3335" y="3474"/>
                    <a:pt x="3357" y="3474"/>
                  </a:cubicBezTo>
                  <a:cubicBezTo>
                    <a:pt x="3357" y="3444"/>
                    <a:pt x="3350" y="3385"/>
                    <a:pt x="3379" y="3370"/>
                  </a:cubicBezTo>
                  <a:cubicBezTo>
                    <a:pt x="3409" y="3355"/>
                    <a:pt x="3387" y="3310"/>
                    <a:pt x="3394" y="3281"/>
                  </a:cubicBezTo>
                  <a:cubicBezTo>
                    <a:pt x="3409" y="3251"/>
                    <a:pt x="3453" y="3147"/>
                    <a:pt x="3387" y="3140"/>
                  </a:cubicBezTo>
                  <a:cubicBezTo>
                    <a:pt x="3394" y="3117"/>
                    <a:pt x="3409" y="3103"/>
                    <a:pt x="3409" y="3088"/>
                  </a:cubicBezTo>
                  <a:cubicBezTo>
                    <a:pt x="3446" y="3080"/>
                    <a:pt x="3439" y="3103"/>
                    <a:pt x="3461" y="3125"/>
                  </a:cubicBezTo>
                  <a:cubicBezTo>
                    <a:pt x="3483" y="3147"/>
                    <a:pt x="3513" y="3140"/>
                    <a:pt x="3543" y="3147"/>
                  </a:cubicBezTo>
                  <a:cubicBezTo>
                    <a:pt x="3543" y="3162"/>
                    <a:pt x="3543" y="3177"/>
                    <a:pt x="3543" y="3199"/>
                  </a:cubicBezTo>
                  <a:cubicBezTo>
                    <a:pt x="3572" y="3192"/>
                    <a:pt x="3580" y="3207"/>
                    <a:pt x="3595" y="3229"/>
                  </a:cubicBezTo>
                  <a:cubicBezTo>
                    <a:pt x="3610" y="3177"/>
                    <a:pt x="3699" y="3221"/>
                    <a:pt x="3699" y="3162"/>
                  </a:cubicBezTo>
                  <a:cubicBezTo>
                    <a:pt x="3699" y="3147"/>
                    <a:pt x="3676" y="3132"/>
                    <a:pt x="3684" y="3117"/>
                  </a:cubicBezTo>
                  <a:cubicBezTo>
                    <a:pt x="3684" y="3103"/>
                    <a:pt x="3758" y="3103"/>
                    <a:pt x="3773" y="3103"/>
                  </a:cubicBezTo>
                  <a:cubicBezTo>
                    <a:pt x="3780" y="3013"/>
                    <a:pt x="3765" y="2954"/>
                    <a:pt x="3699" y="2895"/>
                  </a:cubicBezTo>
                  <a:cubicBezTo>
                    <a:pt x="3661" y="2865"/>
                    <a:pt x="3661" y="2843"/>
                    <a:pt x="3610" y="2843"/>
                  </a:cubicBezTo>
                  <a:cubicBezTo>
                    <a:pt x="3602" y="2843"/>
                    <a:pt x="3572" y="2843"/>
                    <a:pt x="3565" y="2835"/>
                  </a:cubicBezTo>
                  <a:cubicBezTo>
                    <a:pt x="3565" y="2828"/>
                    <a:pt x="3557" y="2805"/>
                    <a:pt x="3557" y="2805"/>
                  </a:cubicBezTo>
                  <a:cubicBezTo>
                    <a:pt x="3595" y="2805"/>
                    <a:pt x="3624" y="2820"/>
                    <a:pt x="3654" y="2805"/>
                  </a:cubicBezTo>
                  <a:cubicBezTo>
                    <a:pt x="3676" y="2805"/>
                    <a:pt x="3691" y="2791"/>
                    <a:pt x="3713" y="2783"/>
                  </a:cubicBezTo>
                  <a:cubicBezTo>
                    <a:pt x="3743" y="2776"/>
                    <a:pt x="3728" y="2739"/>
                    <a:pt x="3743" y="2716"/>
                  </a:cubicBezTo>
                  <a:cubicBezTo>
                    <a:pt x="3765" y="2679"/>
                    <a:pt x="3825" y="2694"/>
                    <a:pt x="3855" y="2687"/>
                  </a:cubicBezTo>
                  <a:cubicBezTo>
                    <a:pt x="3855" y="2672"/>
                    <a:pt x="3862" y="2657"/>
                    <a:pt x="3862" y="2650"/>
                  </a:cubicBezTo>
                  <a:cubicBezTo>
                    <a:pt x="3884" y="2650"/>
                    <a:pt x="3907" y="2650"/>
                    <a:pt x="3929" y="2635"/>
                  </a:cubicBezTo>
                  <a:cubicBezTo>
                    <a:pt x="3936" y="2627"/>
                    <a:pt x="3944" y="2613"/>
                    <a:pt x="3951" y="2605"/>
                  </a:cubicBezTo>
                  <a:cubicBezTo>
                    <a:pt x="3981" y="2598"/>
                    <a:pt x="4003" y="2613"/>
                    <a:pt x="4033" y="2613"/>
                  </a:cubicBezTo>
                  <a:cubicBezTo>
                    <a:pt x="4055" y="2613"/>
                    <a:pt x="4077" y="2590"/>
                    <a:pt x="4100" y="2598"/>
                  </a:cubicBezTo>
                  <a:cubicBezTo>
                    <a:pt x="4055" y="2553"/>
                    <a:pt x="3936" y="2494"/>
                    <a:pt x="3877" y="2553"/>
                  </a:cubicBezTo>
                  <a:cubicBezTo>
                    <a:pt x="3780" y="2635"/>
                    <a:pt x="3817" y="2494"/>
                    <a:pt x="3758" y="2494"/>
                  </a:cubicBezTo>
                  <a:cubicBezTo>
                    <a:pt x="3758" y="2479"/>
                    <a:pt x="3780" y="2442"/>
                    <a:pt x="3795" y="2442"/>
                  </a:cubicBezTo>
                  <a:cubicBezTo>
                    <a:pt x="3795" y="2419"/>
                    <a:pt x="3795" y="2405"/>
                    <a:pt x="3795" y="2382"/>
                  </a:cubicBezTo>
                  <a:cubicBezTo>
                    <a:pt x="3773" y="2375"/>
                    <a:pt x="3743" y="2375"/>
                    <a:pt x="3758" y="2345"/>
                  </a:cubicBezTo>
                  <a:cubicBezTo>
                    <a:pt x="3780" y="2345"/>
                    <a:pt x="3802" y="2353"/>
                    <a:pt x="3825" y="2345"/>
                  </a:cubicBezTo>
                  <a:cubicBezTo>
                    <a:pt x="3847" y="2338"/>
                    <a:pt x="3847" y="2301"/>
                    <a:pt x="3884" y="2293"/>
                  </a:cubicBezTo>
                  <a:cubicBezTo>
                    <a:pt x="3899" y="2293"/>
                    <a:pt x="3914" y="2286"/>
                    <a:pt x="3929" y="2286"/>
                  </a:cubicBezTo>
                  <a:cubicBezTo>
                    <a:pt x="3944" y="2286"/>
                    <a:pt x="3958" y="2271"/>
                    <a:pt x="3981" y="2263"/>
                  </a:cubicBezTo>
                  <a:lnTo>
                    <a:pt x="3988" y="2263"/>
                  </a:lnTo>
                  <a:cubicBezTo>
                    <a:pt x="3973" y="2248"/>
                    <a:pt x="3966" y="2234"/>
                    <a:pt x="3966" y="2211"/>
                  </a:cubicBezTo>
                  <a:cubicBezTo>
                    <a:pt x="3958" y="2174"/>
                    <a:pt x="3996" y="2137"/>
                    <a:pt x="3988" y="2115"/>
                  </a:cubicBezTo>
                  <a:cubicBezTo>
                    <a:pt x="3966" y="2078"/>
                    <a:pt x="3951" y="2048"/>
                    <a:pt x="3929" y="2011"/>
                  </a:cubicBezTo>
                  <a:cubicBezTo>
                    <a:pt x="3877" y="1952"/>
                    <a:pt x="4100" y="1952"/>
                    <a:pt x="4107" y="1952"/>
                  </a:cubicBezTo>
                  <a:cubicBezTo>
                    <a:pt x="4122" y="1834"/>
                    <a:pt x="3936" y="1922"/>
                    <a:pt x="3958" y="1812"/>
                  </a:cubicBezTo>
                  <a:cubicBezTo>
                    <a:pt x="3996" y="1804"/>
                    <a:pt x="4033" y="1834"/>
                    <a:pt x="4062" y="1804"/>
                  </a:cubicBezTo>
                  <a:cubicBezTo>
                    <a:pt x="4085" y="1789"/>
                    <a:pt x="4100" y="1759"/>
                    <a:pt x="4107" y="1737"/>
                  </a:cubicBezTo>
                  <a:cubicBezTo>
                    <a:pt x="4166" y="1737"/>
                    <a:pt x="4181" y="1744"/>
                    <a:pt x="4218" y="1707"/>
                  </a:cubicBezTo>
                  <a:cubicBezTo>
                    <a:pt x="4248" y="1678"/>
                    <a:pt x="4278" y="1641"/>
                    <a:pt x="4278" y="1596"/>
                  </a:cubicBezTo>
                  <a:cubicBezTo>
                    <a:pt x="4285" y="1544"/>
                    <a:pt x="4255" y="1559"/>
                    <a:pt x="4218" y="1552"/>
                  </a:cubicBezTo>
                  <a:cubicBezTo>
                    <a:pt x="4174" y="1537"/>
                    <a:pt x="4174" y="1492"/>
                    <a:pt x="4174" y="1455"/>
                  </a:cubicBezTo>
                  <a:cubicBezTo>
                    <a:pt x="4174" y="1440"/>
                    <a:pt x="4181" y="1425"/>
                    <a:pt x="4181" y="1403"/>
                  </a:cubicBezTo>
                  <a:cubicBezTo>
                    <a:pt x="4174" y="1403"/>
                    <a:pt x="4159" y="1403"/>
                    <a:pt x="4159" y="1403"/>
                  </a:cubicBezTo>
                  <a:cubicBezTo>
                    <a:pt x="4159" y="1403"/>
                    <a:pt x="4174" y="1403"/>
                    <a:pt x="4181" y="1403"/>
                  </a:cubicBezTo>
                  <a:cubicBezTo>
                    <a:pt x="4181" y="1373"/>
                    <a:pt x="4181" y="1344"/>
                    <a:pt x="4152" y="1336"/>
                  </a:cubicBezTo>
                  <a:cubicBezTo>
                    <a:pt x="4129" y="1329"/>
                    <a:pt x="4055" y="1366"/>
                    <a:pt x="4070" y="1314"/>
                  </a:cubicBezTo>
                  <a:cubicBezTo>
                    <a:pt x="4070" y="1277"/>
                    <a:pt x="4092" y="1262"/>
                    <a:pt x="4055" y="1225"/>
                  </a:cubicBezTo>
                  <a:cubicBezTo>
                    <a:pt x="4033" y="1202"/>
                    <a:pt x="3988" y="1210"/>
                    <a:pt x="3958" y="1210"/>
                  </a:cubicBezTo>
                  <a:lnTo>
                    <a:pt x="3958" y="1202"/>
                  </a:lnTo>
                  <a:cubicBezTo>
                    <a:pt x="3914" y="1210"/>
                    <a:pt x="3921" y="1158"/>
                    <a:pt x="3884" y="1143"/>
                  </a:cubicBezTo>
                  <a:cubicBezTo>
                    <a:pt x="3855" y="1128"/>
                    <a:pt x="3802" y="1150"/>
                    <a:pt x="3773" y="1128"/>
                  </a:cubicBezTo>
                  <a:cubicBezTo>
                    <a:pt x="3728" y="1084"/>
                    <a:pt x="3825" y="928"/>
                    <a:pt x="3699" y="995"/>
                  </a:cubicBezTo>
                  <a:cubicBezTo>
                    <a:pt x="3669" y="965"/>
                    <a:pt x="3691" y="928"/>
                    <a:pt x="3669" y="898"/>
                  </a:cubicBezTo>
                  <a:cubicBezTo>
                    <a:pt x="3654" y="876"/>
                    <a:pt x="3617" y="891"/>
                    <a:pt x="3602" y="861"/>
                  </a:cubicBezTo>
                  <a:cubicBezTo>
                    <a:pt x="3580" y="809"/>
                    <a:pt x="3676" y="765"/>
                    <a:pt x="3691" y="720"/>
                  </a:cubicBezTo>
                  <a:cubicBezTo>
                    <a:pt x="3706" y="660"/>
                    <a:pt x="3654" y="594"/>
                    <a:pt x="3610" y="653"/>
                  </a:cubicBezTo>
                  <a:cubicBezTo>
                    <a:pt x="3565" y="705"/>
                    <a:pt x="3535" y="668"/>
                    <a:pt x="3550" y="608"/>
                  </a:cubicBezTo>
                  <a:cubicBezTo>
                    <a:pt x="3498" y="616"/>
                    <a:pt x="3468" y="564"/>
                    <a:pt x="3476" y="512"/>
                  </a:cubicBezTo>
                  <a:cubicBezTo>
                    <a:pt x="3483" y="460"/>
                    <a:pt x="3528" y="452"/>
                    <a:pt x="3572" y="423"/>
                  </a:cubicBezTo>
                  <a:cubicBezTo>
                    <a:pt x="3557" y="408"/>
                    <a:pt x="3535" y="415"/>
                    <a:pt x="3513" y="415"/>
                  </a:cubicBezTo>
                  <a:cubicBezTo>
                    <a:pt x="3505" y="386"/>
                    <a:pt x="3520" y="356"/>
                    <a:pt x="3520" y="326"/>
                  </a:cubicBezTo>
                  <a:cubicBezTo>
                    <a:pt x="3483" y="319"/>
                    <a:pt x="3446" y="304"/>
                    <a:pt x="3424" y="334"/>
                  </a:cubicBezTo>
                  <a:cubicBezTo>
                    <a:pt x="3409" y="356"/>
                    <a:pt x="3416" y="438"/>
                    <a:pt x="3372" y="415"/>
                  </a:cubicBezTo>
                  <a:cubicBezTo>
                    <a:pt x="3357" y="363"/>
                    <a:pt x="3268" y="386"/>
                    <a:pt x="3223" y="386"/>
                  </a:cubicBezTo>
                  <a:cubicBezTo>
                    <a:pt x="3216" y="363"/>
                    <a:pt x="3216" y="341"/>
                    <a:pt x="3216" y="319"/>
                  </a:cubicBezTo>
                  <a:cubicBezTo>
                    <a:pt x="3186" y="311"/>
                    <a:pt x="3149" y="245"/>
                    <a:pt x="3119" y="252"/>
                  </a:cubicBezTo>
                  <a:cubicBezTo>
                    <a:pt x="3097" y="274"/>
                    <a:pt x="3097" y="304"/>
                    <a:pt x="3067" y="311"/>
                  </a:cubicBezTo>
                  <a:cubicBezTo>
                    <a:pt x="3060" y="274"/>
                    <a:pt x="3053" y="260"/>
                    <a:pt x="3023" y="237"/>
                  </a:cubicBezTo>
                  <a:cubicBezTo>
                    <a:pt x="3000" y="215"/>
                    <a:pt x="3008" y="193"/>
                    <a:pt x="2993" y="170"/>
                  </a:cubicBezTo>
                  <a:cubicBezTo>
                    <a:pt x="2971" y="133"/>
                    <a:pt x="2911" y="170"/>
                    <a:pt x="2882" y="148"/>
                  </a:cubicBezTo>
                  <a:cubicBezTo>
                    <a:pt x="2852" y="133"/>
                    <a:pt x="2859" y="103"/>
                    <a:pt x="2852" y="74"/>
                  </a:cubicBezTo>
                  <a:cubicBezTo>
                    <a:pt x="2822" y="66"/>
                    <a:pt x="2770" y="96"/>
                    <a:pt x="2763" y="133"/>
                  </a:cubicBezTo>
                  <a:cubicBezTo>
                    <a:pt x="2741" y="133"/>
                    <a:pt x="2733" y="126"/>
                    <a:pt x="2733" y="103"/>
                  </a:cubicBezTo>
                  <a:cubicBezTo>
                    <a:pt x="2703" y="96"/>
                    <a:pt x="2689" y="141"/>
                    <a:pt x="2689" y="163"/>
                  </a:cubicBezTo>
                  <a:cubicBezTo>
                    <a:pt x="2659" y="170"/>
                    <a:pt x="2651" y="133"/>
                    <a:pt x="2644" y="111"/>
                  </a:cubicBezTo>
                  <a:cubicBezTo>
                    <a:pt x="2629" y="81"/>
                    <a:pt x="2600" y="74"/>
                    <a:pt x="2562" y="81"/>
                  </a:cubicBezTo>
                  <a:cubicBezTo>
                    <a:pt x="2525" y="81"/>
                    <a:pt x="2503" y="74"/>
                    <a:pt x="2473" y="59"/>
                  </a:cubicBezTo>
                  <a:cubicBezTo>
                    <a:pt x="2436" y="44"/>
                    <a:pt x="2384" y="59"/>
                    <a:pt x="2347" y="59"/>
                  </a:cubicBezTo>
                  <a:cubicBezTo>
                    <a:pt x="2347" y="74"/>
                    <a:pt x="2340" y="89"/>
                    <a:pt x="2340" y="96"/>
                  </a:cubicBezTo>
                  <a:cubicBezTo>
                    <a:pt x="2317" y="103"/>
                    <a:pt x="2288" y="103"/>
                    <a:pt x="2280" y="81"/>
                  </a:cubicBezTo>
                  <a:cubicBezTo>
                    <a:pt x="2273" y="59"/>
                    <a:pt x="2280" y="29"/>
                    <a:pt x="2265" y="22"/>
                  </a:cubicBezTo>
                  <a:cubicBezTo>
                    <a:pt x="2243" y="0"/>
                    <a:pt x="2154" y="22"/>
                    <a:pt x="2132" y="37"/>
                  </a:cubicBezTo>
                  <a:cubicBezTo>
                    <a:pt x="2124" y="37"/>
                    <a:pt x="2109" y="44"/>
                    <a:pt x="2102" y="44"/>
                  </a:cubicBezTo>
                  <a:lnTo>
                    <a:pt x="2102" y="44"/>
                  </a:lnTo>
                  <a:cubicBezTo>
                    <a:pt x="2109" y="52"/>
                    <a:pt x="2109" y="52"/>
                    <a:pt x="2117" y="52"/>
                  </a:cubicBezTo>
                  <a:cubicBezTo>
                    <a:pt x="2124" y="96"/>
                    <a:pt x="2095" y="133"/>
                    <a:pt x="2102" y="170"/>
                  </a:cubicBezTo>
                  <a:cubicBezTo>
                    <a:pt x="2139" y="170"/>
                    <a:pt x="2169" y="170"/>
                    <a:pt x="2198" y="170"/>
                  </a:cubicBezTo>
                  <a:cubicBezTo>
                    <a:pt x="2198" y="178"/>
                    <a:pt x="2198" y="178"/>
                    <a:pt x="2198" y="185"/>
                  </a:cubicBezTo>
                  <a:cubicBezTo>
                    <a:pt x="2191" y="185"/>
                    <a:pt x="2191" y="193"/>
                    <a:pt x="2184" y="193"/>
                  </a:cubicBezTo>
                  <a:cubicBezTo>
                    <a:pt x="2161" y="193"/>
                    <a:pt x="2132" y="222"/>
                    <a:pt x="2117" y="237"/>
                  </a:cubicBezTo>
                  <a:cubicBezTo>
                    <a:pt x="2102" y="222"/>
                    <a:pt x="2080" y="230"/>
                    <a:pt x="2057" y="230"/>
                  </a:cubicBezTo>
                  <a:lnTo>
                    <a:pt x="2057" y="237"/>
                  </a:lnTo>
                  <a:cubicBezTo>
                    <a:pt x="2020" y="237"/>
                    <a:pt x="2006" y="267"/>
                    <a:pt x="1998" y="304"/>
                  </a:cubicBezTo>
                  <a:cubicBezTo>
                    <a:pt x="1953" y="304"/>
                    <a:pt x="1886" y="311"/>
                    <a:pt x="1842" y="289"/>
                  </a:cubicBezTo>
                  <a:cubicBezTo>
                    <a:pt x="1783" y="267"/>
                    <a:pt x="1820" y="200"/>
                    <a:pt x="1820" y="148"/>
                  </a:cubicBezTo>
                  <a:cubicBezTo>
                    <a:pt x="1783" y="148"/>
                    <a:pt x="1738" y="141"/>
                    <a:pt x="1701" y="141"/>
                  </a:cubicBezTo>
                  <a:cubicBezTo>
                    <a:pt x="1679" y="148"/>
                    <a:pt x="1656" y="148"/>
                    <a:pt x="1641" y="155"/>
                  </a:cubicBezTo>
                  <a:cubicBezTo>
                    <a:pt x="1619" y="163"/>
                    <a:pt x="1612" y="178"/>
                    <a:pt x="1590" y="185"/>
                  </a:cubicBezTo>
                  <a:cubicBezTo>
                    <a:pt x="1567" y="193"/>
                    <a:pt x="1552" y="193"/>
                    <a:pt x="1530" y="193"/>
                  </a:cubicBezTo>
                  <a:cubicBezTo>
                    <a:pt x="1493" y="193"/>
                    <a:pt x="1501" y="193"/>
                    <a:pt x="1478" y="215"/>
                  </a:cubicBezTo>
                  <a:cubicBezTo>
                    <a:pt x="1449" y="237"/>
                    <a:pt x="1426" y="252"/>
                    <a:pt x="1396" y="267"/>
                  </a:cubicBezTo>
                  <a:cubicBezTo>
                    <a:pt x="1396" y="304"/>
                    <a:pt x="1300" y="282"/>
                    <a:pt x="1270" y="282"/>
                  </a:cubicBezTo>
                  <a:cubicBezTo>
                    <a:pt x="1211" y="282"/>
                    <a:pt x="1189" y="267"/>
                    <a:pt x="1151" y="222"/>
                  </a:cubicBezTo>
                  <a:cubicBezTo>
                    <a:pt x="1144" y="207"/>
                    <a:pt x="1122" y="170"/>
                    <a:pt x="1107" y="163"/>
                  </a:cubicBezTo>
                  <a:cubicBezTo>
                    <a:pt x="1092" y="155"/>
                    <a:pt x="1055" y="163"/>
                    <a:pt x="1040" y="163"/>
                  </a:cubicBezTo>
                  <a:cubicBezTo>
                    <a:pt x="1018" y="163"/>
                    <a:pt x="996" y="155"/>
                    <a:pt x="981" y="148"/>
                  </a:cubicBezTo>
                  <a:cubicBezTo>
                    <a:pt x="958" y="148"/>
                    <a:pt x="944" y="141"/>
                    <a:pt x="936" y="170"/>
                  </a:cubicBezTo>
                  <a:cubicBezTo>
                    <a:pt x="914" y="178"/>
                    <a:pt x="906" y="163"/>
                    <a:pt x="891" y="155"/>
                  </a:cubicBezTo>
                  <a:cubicBezTo>
                    <a:pt x="869" y="148"/>
                    <a:pt x="877" y="148"/>
                    <a:pt x="854" y="155"/>
                  </a:cubicBezTo>
                  <a:cubicBezTo>
                    <a:pt x="825" y="163"/>
                    <a:pt x="795" y="178"/>
                    <a:pt x="758" y="155"/>
                  </a:cubicBezTo>
                  <a:cubicBezTo>
                    <a:pt x="750" y="155"/>
                    <a:pt x="736" y="133"/>
                    <a:pt x="721" y="126"/>
                  </a:cubicBezTo>
                  <a:cubicBezTo>
                    <a:pt x="706" y="126"/>
                    <a:pt x="699" y="148"/>
                    <a:pt x="691" y="148"/>
                  </a:cubicBezTo>
                  <a:cubicBezTo>
                    <a:pt x="639" y="170"/>
                    <a:pt x="639" y="133"/>
                    <a:pt x="632" y="96"/>
                  </a:cubicBezTo>
                  <a:cubicBezTo>
                    <a:pt x="602" y="96"/>
                    <a:pt x="580" y="148"/>
                    <a:pt x="572" y="170"/>
                  </a:cubicBezTo>
                  <a:cubicBezTo>
                    <a:pt x="542" y="170"/>
                    <a:pt x="550" y="103"/>
                    <a:pt x="542" y="81"/>
                  </a:cubicBezTo>
                  <a:cubicBezTo>
                    <a:pt x="513" y="29"/>
                    <a:pt x="513" y="111"/>
                    <a:pt x="513" y="133"/>
                  </a:cubicBezTo>
                  <a:cubicBezTo>
                    <a:pt x="505" y="178"/>
                    <a:pt x="498" y="200"/>
                    <a:pt x="491" y="237"/>
                  </a:cubicBezTo>
                  <a:cubicBezTo>
                    <a:pt x="476" y="267"/>
                    <a:pt x="483" y="311"/>
                    <a:pt x="461" y="341"/>
                  </a:cubicBezTo>
                  <a:cubicBezTo>
                    <a:pt x="394" y="341"/>
                    <a:pt x="320" y="334"/>
                    <a:pt x="245" y="334"/>
                  </a:cubicBezTo>
                  <a:cubicBezTo>
                    <a:pt x="231" y="334"/>
                    <a:pt x="208" y="334"/>
                    <a:pt x="194" y="334"/>
                  </a:cubicBezTo>
                  <a:cubicBezTo>
                    <a:pt x="186" y="326"/>
                    <a:pt x="171" y="311"/>
                    <a:pt x="164" y="311"/>
                  </a:cubicBezTo>
                  <a:cubicBezTo>
                    <a:pt x="134" y="319"/>
                    <a:pt x="149" y="334"/>
                    <a:pt x="127" y="341"/>
                  </a:cubicBezTo>
                  <a:cubicBezTo>
                    <a:pt x="119" y="349"/>
                    <a:pt x="97" y="349"/>
                    <a:pt x="82" y="349"/>
                  </a:cubicBezTo>
                  <a:cubicBezTo>
                    <a:pt x="75" y="363"/>
                    <a:pt x="60" y="363"/>
                    <a:pt x="52" y="378"/>
                  </a:cubicBezTo>
                  <a:cubicBezTo>
                    <a:pt x="45" y="400"/>
                    <a:pt x="60" y="423"/>
                    <a:pt x="37" y="438"/>
                  </a:cubicBezTo>
                  <a:cubicBezTo>
                    <a:pt x="30" y="460"/>
                    <a:pt x="23" y="482"/>
                    <a:pt x="15" y="512"/>
                  </a:cubicBezTo>
                  <a:cubicBezTo>
                    <a:pt x="0" y="586"/>
                    <a:pt x="0" y="586"/>
                    <a:pt x="0" y="586"/>
                  </a:cubicBezTo>
                  <a:cubicBezTo>
                    <a:pt x="23" y="601"/>
                    <a:pt x="75" y="601"/>
                    <a:pt x="104" y="608"/>
                  </a:cubicBezTo>
                  <a:cubicBezTo>
                    <a:pt x="164" y="608"/>
                    <a:pt x="149" y="556"/>
                    <a:pt x="171" y="519"/>
                  </a:cubicBezTo>
                  <a:cubicBezTo>
                    <a:pt x="201" y="482"/>
                    <a:pt x="253" y="512"/>
                    <a:pt x="297" y="497"/>
                  </a:cubicBezTo>
                  <a:cubicBezTo>
                    <a:pt x="305" y="497"/>
                    <a:pt x="334" y="475"/>
                    <a:pt x="349" y="467"/>
                  </a:cubicBezTo>
                  <a:cubicBezTo>
                    <a:pt x="364" y="460"/>
                    <a:pt x="372" y="430"/>
                    <a:pt x="401" y="438"/>
                  </a:cubicBezTo>
                  <a:cubicBezTo>
                    <a:pt x="387" y="452"/>
                    <a:pt x="387" y="490"/>
                    <a:pt x="379" y="497"/>
                  </a:cubicBezTo>
                  <a:cubicBezTo>
                    <a:pt x="364" y="512"/>
                    <a:pt x="342" y="505"/>
                    <a:pt x="320" y="512"/>
                  </a:cubicBezTo>
                  <a:cubicBezTo>
                    <a:pt x="312" y="519"/>
                    <a:pt x="297" y="542"/>
                    <a:pt x="283" y="549"/>
                  </a:cubicBezTo>
                  <a:cubicBezTo>
                    <a:pt x="260" y="564"/>
                    <a:pt x="260" y="564"/>
                    <a:pt x="231" y="564"/>
                  </a:cubicBezTo>
                  <a:cubicBezTo>
                    <a:pt x="208" y="564"/>
                    <a:pt x="201" y="564"/>
                    <a:pt x="201" y="571"/>
                  </a:cubicBezTo>
                  <a:cubicBezTo>
                    <a:pt x="194" y="571"/>
                    <a:pt x="194" y="579"/>
                    <a:pt x="194" y="586"/>
                  </a:cubicBezTo>
                  <a:cubicBezTo>
                    <a:pt x="179" y="608"/>
                    <a:pt x="186" y="668"/>
                    <a:pt x="186" y="690"/>
                  </a:cubicBezTo>
                  <a:cubicBezTo>
                    <a:pt x="208" y="683"/>
                    <a:pt x="231" y="690"/>
                    <a:pt x="238" y="720"/>
                  </a:cubicBezTo>
                  <a:cubicBezTo>
                    <a:pt x="245" y="750"/>
                    <a:pt x="223" y="727"/>
                    <a:pt x="208" y="757"/>
                  </a:cubicBezTo>
                  <a:cubicBezTo>
                    <a:pt x="231" y="757"/>
                    <a:pt x="260" y="765"/>
                    <a:pt x="283" y="779"/>
                  </a:cubicBezTo>
                  <a:cubicBezTo>
                    <a:pt x="320" y="794"/>
                    <a:pt x="260" y="816"/>
                    <a:pt x="268" y="854"/>
                  </a:cubicBezTo>
                  <a:cubicBezTo>
                    <a:pt x="290" y="854"/>
                    <a:pt x="290" y="816"/>
                    <a:pt x="320" y="816"/>
                  </a:cubicBezTo>
                  <a:cubicBezTo>
                    <a:pt x="320" y="839"/>
                    <a:pt x="320" y="846"/>
                    <a:pt x="305" y="861"/>
                  </a:cubicBezTo>
                  <a:cubicBezTo>
                    <a:pt x="297" y="876"/>
                    <a:pt x="275" y="868"/>
                    <a:pt x="290" y="891"/>
                  </a:cubicBezTo>
                  <a:cubicBezTo>
                    <a:pt x="312" y="883"/>
                    <a:pt x="334" y="839"/>
                    <a:pt x="364" y="854"/>
                  </a:cubicBezTo>
                  <a:lnTo>
                    <a:pt x="364" y="861"/>
                  </a:lnTo>
                  <a:cubicBezTo>
                    <a:pt x="327" y="868"/>
                    <a:pt x="342" y="920"/>
                    <a:pt x="305" y="920"/>
                  </a:cubicBezTo>
                  <a:cubicBezTo>
                    <a:pt x="327" y="943"/>
                    <a:pt x="342" y="957"/>
                    <a:pt x="349" y="987"/>
                  </a:cubicBezTo>
                  <a:cubicBezTo>
                    <a:pt x="394" y="987"/>
                    <a:pt x="439" y="1054"/>
                    <a:pt x="476" y="1076"/>
                  </a:cubicBezTo>
                  <a:cubicBezTo>
                    <a:pt x="520" y="1099"/>
                    <a:pt x="557" y="1121"/>
                    <a:pt x="602" y="1158"/>
                  </a:cubicBezTo>
                  <a:cubicBezTo>
                    <a:pt x="617" y="1173"/>
                    <a:pt x="639" y="1188"/>
                    <a:pt x="654" y="1202"/>
                  </a:cubicBezTo>
                  <a:cubicBezTo>
                    <a:pt x="676" y="1225"/>
                    <a:pt x="691" y="1247"/>
                    <a:pt x="721" y="1262"/>
                  </a:cubicBezTo>
                  <a:cubicBezTo>
                    <a:pt x="758" y="1269"/>
                    <a:pt x="825" y="1247"/>
                    <a:pt x="825" y="1314"/>
                  </a:cubicBezTo>
                  <a:cubicBezTo>
                    <a:pt x="839" y="1314"/>
                    <a:pt x="862" y="1314"/>
                    <a:pt x="869" y="1307"/>
                  </a:cubicBezTo>
                  <a:cubicBezTo>
                    <a:pt x="869" y="1277"/>
                    <a:pt x="951" y="1307"/>
                    <a:pt x="981" y="1307"/>
                  </a:cubicBezTo>
                  <a:cubicBezTo>
                    <a:pt x="1003" y="1307"/>
                    <a:pt x="1033" y="1321"/>
                    <a:pt x="1062" y="1321"/>
                  </a:cubicBezTo>
                  <a:cubicBezTo>
                    <a:pt x="1085" y="1314"/>
                    <a:pt x="1092" y="1307"/>
                    <a:pt x="1122" y="1307"/>
                  </a:cubicBezTo>
                  <a:cubicBezTo>
                    <a:pt x="1122" y="1299"/>
                    <a:pt x="1122" y="1299"/>
                    <a:pt x="1122" y="1292"/>
                  </a:cubicBezTo>
                  <a:cubicBezTo>
                    <a:pt x="1166" y="1262"/>
                    <a:pt x="1218" y="1292"/>
                    <a:pt x="1270" y="1277"/>
                  </a:cubicBezTo>
                  <a:cubicBezTo>
                    <a:pt x="1293" y="1262"/>
                    <a:pt x="1300" y="1232"/>
                    <a:pt x="1330" y="1225"/>
                  </a:cubicBezTo>
                  <a:cubicBezTo>
                    <a:pt x="1344" y="1225"/>
                    <a:pt x="1374" y="1240"/>
                    <a:pt x="1396" y="1232"/>
                  </a:cubicBezTo>
                  <a:cubicBezTo>
                    <a:pt x="1404" y="1225"/>
                    <a:pt x="1426" y="1188"/>
                    <a:pt x="1411" y="1188"/>
                  </a:cubicBezTo>
                  <a:cubicBezTo>
                    <a:pt x="1396" y="1188"/>
                    <a:pt x="1389" y="1188"/>
                    <a:pt x="1374" y="1188"/>
                  </a:cubicBezTo>
                  <a:cubicBezTo>
                    <a:pt x="1374" y="1165"/>
                    <a:pt x="1396" y="1150"/>
                    <a:pt x="1419" y="1158"/>
                  </a:cubicBezTo>
                  <a:cubicBezTo>
                    <a:pt x="1449" y="1173"/>
                    <a:pt x="1426" y="1202"/>
                    <a:pt x="1471" y="1180"/>
                  </a:cubicBezTo>
                  <a:cubicBezTo>
                    <a:pt x="1471" y="1128"/>
                    <a:pt x="1530" y="1106"/>
                    <a:pt x="1567" y="1113"/>
                  </a:cubicBezTo>
                  <a:cubicBezTo>
                    <a:pt x="1567" y="1158"/>
                    <a:pt x="1612" y="1165"/>
                    <a:pt x="1649" y="1143"/>
                  </a:cubicBezTo>
                  <a:cubicBezTo>
                    <a:pt x="1634" y="1158"/>
                    <a:pt x="1627" y="1173"/>
                    <a:pt x="1612" y="1188"/>
                  </a:cubicBezTo>
                  <a:cubicBezTo>
                    <a:pt x="1597" y="1202"/>
                    <a:pt x="1582" y="1202"/>
                    <a:pt x="1575" y="1232"/>
                  </a:cubicBezTo>
                  <a:cubicBezTo>
                    <a:pt x="1552" y="1269"/>
                    <a:pt x="1538" y="1307"/>
                    <a:pt x="1530" y="1359"/>
                  </a:cubicBezTo>
                  <a:cubicBezTo>
                    <a:pt x="1501" y="1366"/>
                    <a:pt x="1471" y="1410"/>
                    <a:pt x="1441" y="1440"/>
                  </a:cubicBezTo>
                  <a:cubicBezTo>
                    <a:pt x="1426" y="1448"/>
                    <a:pt x="1404" y="1462"/>
                    <a:pt x="1389" y="1477"/>
                  </a:cubicBezTo>
                  <a:cubicBezTo>
                    <a:pt x="1382" y="1492"/>
                    <a:pt x="1389" y="1514"/>
                    <a:pt x="1382" y="1529"/>
                  </a:cubicBezTo>
                  <a:cubicBezTo>
                    <a:pt x="1352" y="1529"/>
                    <a:pt x="1330" y="1522"/>
                    <a:pt x="1300" y="1522"/>
                  </a:cubicBezTo>
                  <a:cubicBezTo>
                    <a:pt x="1285" y="1529"/>
                    <a:pt x="1300" y="1544"/>
                    <a:pt x="1278" y="1537"/>
                  </a:cubicBezTo>
                  <a:cubicBezTo>
                    <a:pt x="1263" y="1529"/>
                    <a:pt x="1270" y="1514"/>
                    <a:pt x="1248" y="1507"/>
                  </a:cubicBezTo>
                  <a:cubicBezTo>
                    <a:pt x="1241" y="1499"/>
                    <a:pt x="1218" y="1507"/>
                    <a:pt x="1211" y="1507"/>
                  </a:cubicBezTo>
                  <a:cubicBezTo>
                    <a:pt x="1196" y="1514"/>
                    <a:pt x="1181" y="1522"/>
                    <a:pt x="1159" y="1537"/>
                  </a:cubicBezTo>
                  <a:cubicBezTo>
                    <a:pt x="1174" y="1537"/>
                    <a:pt x="1189" y="1537"/>
                    <a:pt x="1204" y="1537"/>
                  </a:cubicBezTo>
                  <a:cubicBezTo>
                    <a:pt x="1196" y="1566"/>
                    <a:pt x="1144" y="1589"/>
                    <a:pt x="1144" y="1618"/>
                  </a:cubicBezTo>
                  <a:cubicBezTo>
                    <a:pt x="1136" y="1618"/>
                    <a:pt x="1122" y="1626"/>
                    <a:pt x="1114" y="1626"/>
                  </a:cubicBezTo>
                  <a:cubicBezTo>
                    <a:pt x="1114" y="1626"/>
                    <a:pt x="1114" y="1626"/>
                    <a:pt x="1114" y="1633"/>
                  </a:cubicBezTo>
                  <a:cubicBezTo>
                    <a:pt x="1107" y="1633"/>
                    <a:pt x="1099" y="1633"/>
                    <a:pt x="1092" y="1626"/>
                  </a:cubicBezTo>
                  <a:cubicBezTo>
                    <a:pt x="1099" y="1574"/>
                    <a:pt x="1033" y="1604"/>
                    <a:pt x="1010" y="1618"/>
                  </a:cubicBezTo>
                  <a:cubicBezTo>
                    <a:pt x="1010" y="1626"/>
                    <a:pt x="1010" y="1633"/>
                    <a:pt x="1010" y="1641"/>
                  </a:cubicBezTo>
                  <a:cubicBezTo>
                    <a:pt x="1003" y="1641"/>
                    <a:pt x="996" y="1641"/>
                    <a:pt x="988" y="1641"/>
                  </a:cubicBezTo>
                  <a:cubicBezTo>
                    <a:pt x="973" y="1648"/>
                    <a:pt x="951" y="1633"/>
                    <a:pt x="958" y="1663"/>
                  </a:cubicBezTo>
                  <a:cubicBezTo>
                    <a:pt x="958" y="1670"/>
                    <a:pt x="951" y="1670"/>
                    <a:pt x="944" y="1670"/>
                  </a:cubicBezTo>
                  <a:cubicBezTo>
                    <a:pt x="944" y="1663"/>
                    <a:pt x="936" y="1648"/>
                    <a:pt x="936" y="1641"/>
                  </a:cubicBezTo>
                  <a:cubicBezTo>
                    <a:pt x="899" y="1633"/>
                    <a:pt x="862" y="1648"/>
                    <a:pt x="825" y="1648"/>
                  </a:cubicBezTo>
                  <a:lnTo>
                    <a:pt x="832" y="1648"/>
                  </a:lnTo>
                  <a:cubicBezTo>
                    <a:pt x="839" y="1655"/>
                    <a:pt x="839" y="1670"/>
                    <a:pt x="832" y="1678"/>
                  </a:cubicBezTo>
                  <a:cubicBezTo>
                    <a:pt x="802" y="1693"/>
                    <a:pt x="802" y="1655"/>
                    <a:pt x="780" y="1648"/>
                  </a:cubicBezTo>
                  <a:cubicBezTo>
                    <a:pt x="765" y="1648"/>
                    <a:pt x="743" y="1663"/>
                    <a:pt x="728" y="1663"/>
                  </a:cubicBezTo>
                  <a:cubicBezTo>
                    <a:pt x="706" y="1670"/>
                    <a:pt x="684" y="1670"/>
                    <a:pt x="661" y="1678"/>
                  </a:cubicBezTo>
                  <a:cubicBezTo>
                    <a:pt x="646" y="1685"/>
                    <a:pt x="639" y="1700"/>
                    <a:pt x="624" y="1707"/>
                  </a:cubicBezTo>
                  <a:cubicBezTo>
                    <a:pt x="624" y="1685"/>
                    <a:pt x="654" y="1693"/>
                    <a:pt x="654" y="1663"/>
                  </a:cubicBezTo>
                  <a:cubicBezTo>
                    <a:pt x="580" y="1670"/>
                    <a:pt x="646" y="1604"/>
                    <a:pt x="661" y="1566"/>
                  </a:cubicBezTo>
                  <a:cubicBezTo>
                    <a:pt x="639" y="1581"/>
                    <a:pt x="624" y="1566"/>
                    <a:pt x="602" y="1566"/>
                  </a:cubicBezTo>
                  <a:cubicBezTo>
                    <a:pt x="587" y="1574"/>
                    <a:pt x="572" y="1589"/>
                    <a:pt x="557" y="1589"/>
                  </a:cubicBezTo>
                  <a:cubicBezTo>
                    <a:pt x="528" y="1581"/>
                    <a:pt x="513" y="1559"/>
                    <a:pt x="542" y="1537"/>
                  </a:cubicBezTo>
                  <a:cubicBezTo>
                    <a:pt x="557" y="1529"/>
                    <a:pt x="580" y="1544"/>
                    <a:pt x="580" y="1514"/>
                  </a:cubicBezTo>
                  <a:cubicBezTo>
                    <a:pt x="557" y="1514"/>
                    <a:pt x="535" y="1507"/>
                    <a:pt x="520" y="1522"/>
                  </a:cubicBezTo>
                  <a:cubicBezTo>
                    <a:pt x="505" y="1529"/>
                    <a:pt x="520" y="1544"/>
                    <a:pt x="513" y="1552"/>
                  </a:cubicBezTo>
                  <a:cubicBezTo>
                    <a:pt x="505" y="1566"/>
                    <a:pt x="498" y="1566"/>
                    <a:pt x="491" y="1581"/>
                  </a:cubicBezTo>
                  <a:cubicBezTo>
                    <a:pt x="424" y="1604"/>
                    <a:pt x="513" y="1700"/>
                    <a:pt x="528" y="1737"/>
                  </a:cubicBezTo>
                  <a:cubicBezTo>
                    <a:pt x="550" y="1767"/>
                    <a:pt x="557" y="1797"/>
                    <a:pt x="580" y="1826"/>
                  </a:cubicBezTo>
                  <a:cubicBezTo>
                    <a:pt x="624" y="1900"/>
                    <a:pt x="684" y="1959"/>
                    <a:pt x="728" y="2026"/>
                  </a:cubicBezTo>
                  <a:cubicBezTo>
                    <a:pt x="758" y="2063"/>
                    <a:pt x="765" y="2085"/>
                    <a:pt x="802" y="2108"/>
                  </a:cubicBezTo>
                  <a:cubicBezTo>
                    <a:pt x="839" y="2137"/>
                    <a:pt x="854" y="2167"/>
                    <a:pt x="891" y="2197"/>
                  </a:cubicBezTo>
                  <a:cubicBezTo>
                    <a:pt x="921" y="2226"/>
                    <a:pt x="944" y="2248"/>
                    <a:pt x="966" y="2286"/>
                  </a:cubicBezTo>
                  <a:cubicBezTo>
                    <a:pt x="981" y="2315"/>
                    <a:pt x="996" y="2345"/>
                    <a:pt x="1033" y="2338"/>
                  </a:cubicBezTo>
                  <a:cubicBezTo>
                    <a:pt x="1025" y="2345"/>
                    <a:pt x="1025" y="2345"/>
                    <a:pt x="1018" y="2353"/>
                  </a:cubicBezTo>
                  <a:cubicBezTo>
                    <a:pt x="1025" y="2427"/>
                    <a:pt x="1114" y="2501"/>
                    <a:pt x="1166" y="2546"/>
                  </a:cubicBezTo>
                  <a:cubicBezTo>
                    <a:pt x="1196" y="2575"/>
                    <a:pt x="1218" y="2605"/>
                    <a:pt x="1248" y="2627"/>
                  </a:cubicBezTo>
                  <a:cubicBezTo>
                    <a:pt x="1278" y="2650"/>
                    <a:pt x="1293" y="2650"/>
                    <a:pt x="1307" y="2672"/>
                  </a:cubicBezTo>
                  <a:cubicBezTo>
                    <a:pt x="1322" y="2694"/>
                    <a:pt x="1337" y="2709"/>
                    <a:pt x="1352" y="2724"/>
                  </a:cubicBezTo>
                  <a:cubicBezTo>
                    <a:pt x="1382" y="2754"/>
                    <a:pt x="1419" y="2761"/>
                    <a:pt x="1449" y="2791"/>
                  </a:cubicBezTo>
                  <a:cubicBezTo>
                    <a:pt x="1471" y="2805"/>
                    <a:pt x="1478" y="2828"/>
                    <a:pt x="1493" y="2835"/>
                  </a:cubicBezTo>
                  <a:cubicBezTo>
                    <a:pt x="1515" y="2850"/>
                    <a:pt x="1523" y="2850"/>
                    <a:pt x="1545" y="2850"/>
                  </a:cubicBezTo>
                  <a:cubicBezTo>
                    <a:pt x="1590" y="2858"/>
                    <a:pt x="1604" y="2910"/>
                    <a:pt x="1649" y="2902"/>
                  </a:cubicBezTo>
                  <a:cubicBezTo>
                    <a:pt x="1664" y="2902"/>
                    <a:pt x="1671" y="2887"/>
                    <a:pt x="1694" y="2887"/>
                  </a:cubicBezTo>
                  <a:cubicBezTo>
                    <a:pt x="1716" y="2887"/>
                    <a:pt x="1723" y="2902"/>
                    <a:pt x="1746" y="2910"/>
                  </a:cubicBezTo>
                  <a:cubicBezTo>
                    <a:pt x="1768" y="2902"/>
                    <a:pt x="1805" y="2917"/>
                    <a:pt x="1827" y="2939"/>
                  </a:cubicBezTo>
                  <a:cubicBezTo>
                    <a:pt x="1849" y="2917"/>
                    <a:pt x="1886" y="2910"/>
                    <a:pt x="1894" y="2895"/>
                  </a:cubicBezTo>
                  <a:cubicBezTo>
                    <a:pt x="1931" y="2895"/>
                    <a:pt x="1968" y="2902"/>
                    <a:pt x="1998" y="2880"/>
                  </a:cubicBezTo>
                  <a:cubicBezTo>
                    <a:pt x="2028" y="2872"/>
                    <a:pt x="2028" y="2858"/>
                    <a:pt x="2057" y="2850"/>
                  </a:cubicBezTo>
                  <a:cubicBezTo>
                    <a:pt x="2080" y="2850"/>
                    <a:pt x="2095" y="2858"/>
                    <a:pt x="2117" y="2858"/>
                  </a:cubicBezTo>
                  <a:cubicBezTo>
                    <a:pt x="2132" y="2828"/>
                    <a:pt x="2146" y="2813"/>
                    <a:pt x="2184" y="2805"/>
                  </a:cubicBezTo>
                  <a:cubicBezTo>
                    <a:pt x="2206" y="2805"/>
                    <a:pt x="2258" y="2813"/>
                    <a:pt x="2258" y="2776"/>
                  </a:cubicBezTo>
                  <a:cubicBezTo>
                    <a:pt x="2236" y="2783"/>
                    <a:pt x="2206" y="2776"/>
                    <a:pt x="2198" y="2805"/>
                  </a:cubicBezTo>
                  <a:cubicBezTo>
                    <a:pt x="2176" y="2768"/>
                    <a:pt x="2258" y="2754"/>
                    <a:pt x="2280" y="2754"/>
                  </a:cubicBezTo>
                  <a:cubicBezTo>
                    <a:pt x="2317" y="2761"/>
                    <a:pt x="2354" y="2768"/>
                    <a:pt x="2392" y="2746"/>
                  </a:cubicBezTo>
                  <a:cubicBezTo>
                    <a:pt x="2406" y="2716"/>
                    <a:pt x="2436" y="2724"/>
                    <a:pt x="2466" y="2716"/>
                  </a:cubicBezTo>
                  <a:cubicBezTo>
                    <a:pt x="2496" y="2716"/>
                    <a:pt x="2518" y="2702"/>
                    <a:pt x="2540" y="2687"/>
                  </a:cubicBezTo>
                  <a:cubicBezTo>
                    <a:pt x="2570" y="2672"/>
                    <a:pt x="2585" y="2642"/>
                    <a:pt x="2614" y="2642"/>
                  </a:cubicBezTo>
                  <a:cubicBezTo>
                    <a:pt x="2622" y="2627"/>
                    <a:pt x="2622" y="2613"/>
                    <a:pt x="2622" y="2605"/>
                  </a:cubicBezTo>
                  <a:lnTo>
                    <a:pt x="2629" y="2598"/>
                  </a:lnTo>
                  <a:cubicBezTo>
                    <a:pt x="2659" y="2546"/>
                    <a:pt x="2689" y="2516"/>
                    <a:pt x="2733" y="2471"/>
                  </a:cubicBezTo>
                  <a:cubicBezTo>
                    <a:pt x="2778" y="2434"/>
                    <a:pt x="2763" y="2382"/>
                    <a:pt x="2770" y="2323"/>
                  </a:cubicBezTo>
                  <a:cubicBezTo>
                    <a:pt x="2800" y="2323"/>
                    <a:pt x="2785" y="2263"/>
                    <a:pt x="2785" y="2241"/>
                  </a:cubicBezTo>
                  <a:cubicBezTo>
                    <a:pt x="2785" y="2226"/>
                    <a:pt x="2793" y="2204"/>
                    <a:pt x="2785" y="2189"/>
                  </a:cubicBezTo>
                  <a:cubicBezTo>
                    <a:pt x="2785" y="2174"/>
                    <a:pt x="2770" y="2167"/>
                    <a:pt x="2770" y="2152"/>
                  </a:cubicBezTo>
                  <a:cubicBezTo>
                    <a:pt x="2763" y="2122"/>
                    <a:pt x="2770" y="2093"/>
                    <a:pt x="2785" y="2070"/>
                  </a:cubicBezTo>
                  <a:cubicBezTo>
                    <a:pt x="2800" y="2048"/>
                    <a:pt x="2822" y="2033"/>
                    <a:pt x="2830" y="2011"/>
                  </a:cubicBezTo>
                  <a:cubicBezTo>
                    <a:pt x="2837" y="2003"/>
                    <a:pt x="2837" y="2003"/>
                    <a:pt x="2845" y="1996"/>
                  </a:cubicBezTo>
                  <a:cubicBezTo>
                    <a:pt x="2822" y="1996"/>
                    <a:pt x="2800" y="1989"/>
                    <a:pt x="2785" y="1981"/>
                  </a:cubicBezTo>
                  <a:cubicBezTo>
                    <a:pt x="2815" y="1966"/>
                    <a:pt x="2815" y="1944"/>
                    <a:pt x="2822" y="1914"/>
                  </a:cubicBezTo>
                  <a:cubicBezTo>
                    <a:pt x="2859" y="1907"/>
                    <a:pt x="2867" y="1944"/>
                    <a:pt x="2897" y="1944"/>
                  </a:cubicBezTo>
                  <a:cubicBezTo>
                    <a:pt x="2926" y="1944"/>
                    <a:pt x="2919" y="1914"/>
                    <a:pt x="2956" y="1922"/>
                  </a:cubicBezTo>
                  <a:cubicBezTo>
                    <a:pt x="2956" y="1914"/>
                    <a:pt x="2956" y="1907"/>
                    <a:pt x="2956" y="1907"/>
                  </a:cubicBezTo>
                  <a:cubicBezTo>
                    <a:pt x="2934" y="1900"/>
                    <a:pt x="2911" y="1907"/>
                    <a:pt x="2889" y="1900"/>
                  </a:cubicBezTo>
                  <a:cubicBezTo>
                    <a:pt x="2897" y="1885"/>
                    <a:pt x="2911" y="1885"/>
                    <a:pt x="2934" y="1885"/>
                  </a:cubicBezTo>
                  <a:cubicBezTo>
                    <a:pt x="2948" y="1804"/>
                    <a:pt x="3053" y="1892"/>
                    <a:pt x="3082" y="1907"/>
                  </a:cubicBezTo>
                  <a:cubicBezTo>
                    <a:pt x="3119" y="1937"/>
                    <a:pt x="3208" y="1929"/>
                    <a:pt x="3253" y="1907"/>
                  </a:cubicBezTo>
                  <a:cubicBezTo>
                    <a:pt x="3260" y="1907"/>
                    <a:pt x="3260" y="1907"/>
                    <a:pt x="3260" y="1907"/>
                  </a:cubicBezTo>
                  <a:cubicBezTo>
                    <a:pt x="3260" y="1907"/>
                    <a:pt x="3260" y="1907"/>
                    <a:pt x="3253" y="1907"/>
                  </a:cubicBezTo>
                  <a:cubicBezTo>
                    <a:pt x="3238" y="1914"/>
                    <a:pt x="3208" y="1959"/>
                    <a:pt x="3186" y="1966"/>
                  </a:cubicBezTo>
                  <a:cubicBezTo>
                    <a:pt x="3164" y="1981"/>
                    <a:pt x="3164" y="1966"/>
                    <a:pt x="3134" y="1959"/>
                  </a:cubicBezTo>
                  <a:cubicBezTo>
                    <a:pt x="3119" y="1959"/>
                    <a:pt x="3097" y="1959"/>
                    <a:pt x="3082" y="1944"/>
                  </a:cubicBezTo>
                  <a:cubicBezTo>
                    <a:pt x="3045" y="1922"/>
                    <a:pt x="3038" y="1870"/>
                    <a:pt x="3000" y="1922"/>
                  </a:cubicBezTo>
                  <a:cubicBezTo>
                    <a:pt x="2978" y="1944"/>
                    <a:pt x="2986" y="1996"/>
                    <a:pt x="2963" y="2011"/>
                  </a:cubicBezTo>
                  <a:cubicBezTo>
                    <a:pt x="2978" y="2018"/>
                    <a:pt x="2993" y="2026"/>
                    <a:pt x="2993" y="2048"/>
                  </a:cubicBezTo>
                  <a:cubicBezTo>
                    <a:pt x="2963" y="2048"/>
                    <a:pt x="2963" y="2122"/>
                    <a:pt x="2963" y="2145"/>
                  </a:cubicBezTo>
                  <a:cubicBezTo>
                    <a:pt x="2978" y="2152"/>
                    <a:pt x="2993" y="2152"/>
                    <a:pt x="3008" y="2152"/>
                  </a:cubicBezTo>
                  <a:cubicBezTo>
                    <a:pt x="3023" y="2122"/>
                    <a:pt x="3134" y="2115"/>
                    <a:pt x="3156" y="2130"/>
                  </a:cubicBezTo>
                  <a:cubicBezTo>
                    <a:pt x="3119" y="2145"/>
                    <a:pt x="3097" y="2167"/>
                    <a:pt x="3053" y="2167"/>
                  </a:cubicBezTo>
                  <a:cubicBezTo>
                    <a:pt x="3030" y="2167"/>
                    <a:pt x="2986" y="2152"/>
                    <a:pt x="2971" y="2182"/>
                  </a:cubicBezTo>
                  <a:cubicBezTo>
                    <a:pt x="2956" y="2204"/>
                    <a:pt x="2971" y="2234"/>
                    <a:pt x="2971" y="2256"/>
                  </a:cubicBezTo>
                  <a:cubicBezTo>
                    <a:pt x="2971" y="2286"/>
                    <a:pt x="2948" y="2308"/>
                    <a:pt x="2956" y="2330"/>
                  </a:cubicBezTo>
                  <a:cubicBezTo>
                    <a:pt x="2963" y="2338"/>
                    <a:pt x="3090" y="2345"/>
                    <a:pt x="3090" y="2360"/>
                  </a:cubicBezTo>
                  <a:cubicBezTo>
                    <a:pt x="3090" y="2368"/>
                    <a:pt x="3090" y="2368"/>
                    <a:pt x="3090" y="2375"/>
                  </a:cubicBezTo>
                  <a:cubicBezTo>
                    <a:pt x="3045" y="2375"/>
                    <a:pt x="3000" y="2368"/>
                    <a:pt x="2963" y="2375"/>
                  </a:cubicBezTo>
                  <a:cubicBezTo>
                    <a:pt x="2971" y="2382"/>
                    <a:pt x="2971" y="2382"/>
                    <a:pt x="2978" y="2390"/>
                  </a:cubicBezTo>
                  <a:cubicBezTo>
                    <a:pt x="2978" y="2397"/>
                    <a:pt x="2986" y="2405"/>
                    <a:pt x="2986" y="2419"/>
                  </a:cubicBezTo>
                  <a:cubicBezTo>
                    <a:pt x="3015" y="2419"/>
                    <a:pt x="3045" y="2419"/>
                    <a:pt x="3067" y="2397"/>
                  </a:cubicBezTo>
                  <a:cubicBezTo>
                    <a:pt x="3090" y="2382"/>
                    <a:pt x="3105" y="2368"/>
                    <a:pt x="3134" y="2375"/>
                  </a:cubicBezTo>
                  <a:cubicBezTo>
                    <a:pt x="3127" y="2375"/>
                    <a:pt x="3119" y="2382"/>
                    <a:pt x="3119" y="2382"/>
                  </a:cubicBezTo>
                  <a:cubicBezTo>
                    <a:pt x="3112" y="2412"/>
                    <a:pt x="3075" y="2427"/>
                    <a:pt x="3060" y="2449"/>
                  </a:cubicBezTo>
                  <a:cubicBezTo>
                    <a:pt x="3045" y="2464"/>
                    <a:pt x="3045" y="2471"/>
                    <a:pt x="3030" y="2479"/>
                  </a:cubicBezTo>
                  <a:cubicBezTo>
                    <a:pt x="3015" y="2494"/>
                    <a:pt x="2993" y="2486"/>
                    <a:pt x="3000" y="2516"/>
                  </a:cubicBezTo>
                  <a:lnTo>
                    <a:pt x="3008" y="2516"/>
                  </a:lnTo>
                  <a:cubicBezTo>
                    <a:pt x="3008" y="2546"/>
                    <a:pt x="3008" y="2568"/>
                    <a:pt x="2993" y="2590"/>
                  </a:cubicBezTo>
                  <a:cubicBezTo>
                    <a:pt x="2986" y="2605"/>
                    <a:pt x="2978" y="2605"/>
                    <a:pt x="2978" y="2627"/>
                  </a:cubicBezTo>
                  <a:cubicBezTo>
                    <a:pt x="2978" y="2642"/>
                    <a:pt x="2986" y="2650"/>
                    <a:pt x="2993" y="2657"/>
                  </a:cubicBezTo>
                  <a:cubicBezTo>
                    <a:pt x="2986" y="2672"/>
                    <a:pt x="2971" y="2687"/>
                    <a:pt x="2978" y="2709"/>
                  </a:cubicBezTo>
                  <a:cubicBezTo>
                    <a:pt x="3000" y="2709"/>
                    <a:pt x="3045" y="2702"/>
                    <a:pt x="3045" y="2724"/>
                  </a:cubicBezTo>
                  <a:cubicBezTo>
                    <a:pt x="3030" y="2724"/>
                    <a:pt x="3008" y="2739"/>
                    <a:pt x="3000" y="2754"/>
                  </a:cubicBezTo>
                  <a:cubicBezTo>
                    <a:pt x="3030" y="2761"/>
                    <a:pt x="3060" y="2754"/>
                    <a:pt x="3090" y="2754"/>
                  </a:cubicBezTo>
                  <a:cubicBezTo>
                    <a:pt x="3090" y="2761"/>
                    <a:pt x="3090" y="2768"/>
                    <a:pt x="3090" y="2776"/>
                  </a:cubicBezTo>
                  <a:cubicBezTo>
                    <a:pt x="3067" y="2768"/>
                    <a:pt x="3053" y="2776"/>
                    <a:pt x="3038" y="2783"/>
                  </a:cubicBezTo>
                  <a:cubicBezTo>
                    <a:pt x="3060" y="2798"/>
                    <a:pt x="3053" y="2828"/>
                    <a:pt x="3053" y="2850"/>
                  </a:cubicBezTo>
                  <a:cubicBezTo>
                    <a:pt x="3075" y="2850"/>
                    <a:pt x="3105" y="2843"/>
                    <a:pt x="3134" y="2850"/>
                  </a:cubicBezTo>
                  <a:cubicBezTo>
                    <a:pt x="3127" y="2865"/>
                    <a:pt x="3127" y="2880"/>
                    <a:pt x="3127" y="2887"/>
                  </a:cubicBezTo>
                  <a:cubicBezTo>
                    <a:pt x="3097" y="2895"/>
                    <a:pt x="3075" y="2902"/>
                    <a:pt x="3053" y="2910"/>
                  </a:cubicBezTo>
                  <a:cubicBezTo>
                    <a:pt x="3060" y="2924"/>
                    <a:pt x="3067" y="2954"/>
                    <a:pt x="3082" y="2962"/>
                  </a:cubicBezTo>
                  <a:cubicBezTo>
                    <a:pt x="3097" y="2976"/>
                    <a:pt x="3112" y="2976"/>
                    <a:pt x="3134" y="2976"/>
                  </a:cubicBezTo>
                  <a:cubicBezTo>
                    <a:pt x="3142" y="3013"/>
                    <a:pt x="3105" y="2999"/>
                    <a:pt x="3082" y="3013"/>
                  </a:cubicBezTo>
                  <a:cubicBezTo>
                    <a:pt x="3075" y="3073"/>
                    <a:pt x="3075" y="3125"/>
                    <a:pt x="3060" y="3177"/>
                  </a:cubicBezTo>
                  <a:cubicBezTo>
                    <a:pt x="3053" y="3184"/>
                    <a:pt x="3053" y="3199"/>
                    <a:pt x="3045" y="3207"/>
                  </a:cubicBezTo>
                  <a:cubicBezTo>
                    <a:pt x="3038" y="3221"/>
                    <a:pt x="3038" y="3236"/>
                    <a:pt x="3038" y="3244"/>
                  </a:cubicBezTo>
                  <a:cubicBezTo>
                    <a:pt x="3045" y="3251"/>
                    <a:pt x="3053" y="3251"/>
                    <a:pt x="3053" y="3259"/>
                  </a:cubicBezTo>
                </a:path>
              </a:pathLst>
            </a:custGeom>
            <a:grpFill/>
            <a:ln w="6350" cap="flat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lIns="60927" tIns="30463" rIns="60927" bIns="30463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1" name="Freeform 3"/>
            <p:cNvSpPr>
              <a:spLocks noChangeArrowheads="1"/>
            </p:cNvSpPr>
            <p:nvPr/>
          </p:nvSpPr>
          <p:spPr bwMode="auto">
            <a:xfrm>
              <a:off x="9434072" y="7604497"/>
              <a:ext cx="3813" cy="1904"/>
            </a:xfrm>
            <a:custGeom>
              <a:avLst/>
              <a:gdLst>
                <a:gd name="T0" fmla="*/ 0 w 8"/>
                <a:gd name="T1" fmla="*/ 0 h 1"/>
                <a:gd name="T2" fmla="*/ 0 w 8"/>
                <a:gd name="T3" fmla="*/ 0 h 1"/>
                <a:gd name="T4" fmla="*/ 7 w 8"/>
                <a:gd name="T5" fmla="*/ 0 h 1"/>
                <a:gd name="T6" fmla="*/ 0 w 8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1">
                  <a:moveTo>
                    <a:pt x="0" y="0"/>
                  </a:moveTo>
                  <a:lnTo>
                    <a:pt x="0" y="0"/>
                  </a:ln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0" y="0"/>
                  </a:cubicBezTo>
                </a:path>
              </a:pathLst>
            </a:custGeom>
            <a:grpFill/>
            <a:ln w="6350" cap="flat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lIns="60927" tIns="30463" rIns="60927" bIns="30463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2" name="Freeform 4"/>
            <p:cNvSpPr>
              <a:spLocks noChangeArrowheads="1"/>
            </p:cNvSpPr>
            <p:nvPr/>
          </p:nvSpPr>
          <p:spPr bwMode="auto">
            <a:xfrm>
              <a:off x="9430260" y="9663906"/>
              <a:ext cx="200167" cy="299101"/>
            </a:xfrm>
            <a:custGeom>
              <a:avLst/>
              <a:gdLst>
                <a:gd name="T0" fmla="*/ 312 w 462"/>
                <a:gd name="T1" fmla="*/ 660 h 691"/>
                <a:gd name="T2" fmla="*/ 312 w 462"/>
                <a:gd name="T3" fmla="*/ 660 h 691"/>
                <a:gd name="T4" fmla="*/ 372 w 462"/>
                <a:gd name="T5" fmla="*/ 683 h 691"/>
                <a:gd name="T6" fmla="*/ 394 w 462"/>
                <a:gd name="T7" fmla="*/ 631 h 691"/>
                <a:gd name="T8" fmla="*/ 409 w 462"/>
                <a:gd name="T9" fmla="*/ 534 h 691"/>
                <a:gd name="T10" fmla="*/ 416 w 462"/>
                <a:gd name="T11" fmla="*/ 534 h 691"/>
                <a:gd name="T12" fmla="*/ 379 w 462"/>
                <a:gd name="T13" fmla="*/ 475 h 691"/>
                <a:gd name="T14" fmla="*/ 431 w 462"/>
                <a:gd name="T15" fmla="*/ 460 h 691"/>
                <a:gd name="T16" fmla="*/ 454 w 462"/>
                <a:gd name="T17" fmla="*/ 445 h 691"/>
                <a:gd name="T18" fmla="*/ 402 w 462"/>
                <a:gd name="T19" fmla="*/ 371 h 691"/>
                <a:gd name="T20" fmla="*/ 416 w 462"/>
                <a:gd name="T21" fmla="*/ 274 h 691"/>
                <a:gd name="T22" fmla="*/ 402 w 462"/>
                <a:gd name="T23" fmla="*/ 200 h 691"/>
                <a:gd name="T24" fmla="*/ 342 w 462"/>
                <a:gd name="T25" fmla="*/ 170 h 691"/>
                <a:gd name="T26" fmla="*/ 327 w 462"/>
                <a:gd name="T27" fmla="*/ 170 h 691"/>
                <a:gd name="T28" fmla="*/ 186 w 462"/>
                <a:gd name="T29" fmla="*/ 141 h 691"/>
                <a:gd name="T30" fmla="*/ 127 w 462"/>
                <a:gd name="T31" fmla="*/ 0 h 691"/>
                <a:gd name="T32" fmla="*/ 60 w 462"/>
                <a:gd name="T33" fmla="*/ 29 h 691"/>
                <a:gd name="T34" fmla="*/ 0 w 462"/>
                <a:gd name="T35" fmla="*/ 29 h 691"/>
                <a:gd name="T36" fmla="*/ 30 w 462"/>
                <a:gd name="T37" fmla="*/ 111 h 691"/>
                <a:gd name="T38" fmla="*/ 67 w 462"/>
                <a:gd name="T39" fmla="*/ 193 h 691"/>
                <a:gd name="T40" fmla="*/ 157 w 462"/>
                <a:gd name="T41" fmla="*/ 222 h 691"/>
                <a:gd name="T42" fmla="*/ 105 w 462"/>
                <a:gd name="T43" fmla="*/ 259 h 691"/>
                <a:gd name="T44" fmla="*/ 186 w 462"/>
                <a:gd name="T45" fmla="*/ 282 h 691"/>
                <a:gd name="T46" fmla="*/ 119 w 462"/>
                <a:gd name="T47" fmla="*/ 282 h 691"/>
                <a:gd name="T48" fmla="*/ 186 w 462"/>
                <a:gd name="T49" fmla="*/ 475 h 691"/>
                <a:gd name="T50" fmla="*/ 179 w 462"/>
                <a:gd name="T51" fmla="*/ 475 h 691"/>
                <a:gd name="T52" fmla="*/ 208 w 462"/>
                <a:gd name="T53" fmla="*/ 527 h 691"/>
                <a:gd name="T54" fmla="*/ 246 w 462"/>
                <a:gd name="T55" fmla="*/ 586 h 691"/>
                <a:gd name="T56" fmla="*/ 260 w 462"/>
                <a:gd name="T57" fmla="*/ 653 h 691"/>
                <a:gd name="T58" fmla="*/ 305 w 462"/>
                <a:gd name="T59" fmla="*/ 690 h 691"/>
                <a:gd name="T60" fmla="*/ 312 w 462"/>
                <a:gd name="T61" fmla="*/ 690 h 691"/>
                <a:gd name="T62" fmla="*/ 312 w 462"/>
                <a:gd name="T63" fmla="*/ 660 h 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62" h="691">
                  <a:moveTo>
                    <a:pt x="312" y="660"/>
                  </a:moveTo>
                  <a:lnTo>
                    <a:pt x="312" y="660"/>
                  </a:lnTo>
                  <a:cubicBezTo>
                    <a:pt x="335" y="660"/>
                    <a:pt x="350" y="690"/>
                    <a:pt x="372" y="683"/>
                  </a:cubicBezTo>
                  <a:cubicBezTo>
                    <a:pt x="379" y="660"/>
                    <a:pt x="372" y="645"/>
                    <a:pt x="394" y="631"/>
                  </a:cubicBezTo>
                  <a:cubicBezTo>
                    <a:pt x="424" y="608"/>
                    <a:pt x="409" y="564"/>
                    <a:pt x="409" y="534"/>
                  </a:cubicBezTo>
                  <a:cubicBezTo>
                    <a:pt x="416" y="534"/>
                    <a:pt x="416" y="534"/>
                    <a:pt x="416" y="534"/>
                  </a:cubicBezTo>
                  <a:cubicBezTo>
                    <a:pt x="431" y="490"/>
                    <a:pt x="379" y="512"/>
                    <a:pt x="379" y="475"/>
                  </a:cubicBezTo>
                  <a:cubicBezTo>
                    <a:pt x="394" y="475"/>
                    <a:pt x="431" y="475"/>
                    <a:pt x="431" y="460"/>
                  </a:cubicBezTo>
                  <a:cubicBezTo>
                    <a:pt x="439" y="445"/>
                    <a:pt x="439" y="445"/>
                    <a:pt x="454" y="445"/>
                  </a:cubicBezTo>
                  <a:cubicBezTo>
                    <a:pt x="461" y="408"/>
                    <a:pt x="439" y="386"/>
                    <a:pt x="402" y="371"/>
                  </a:cubicBezTo>
                  <a:cubicBezTo>
                    <a:pt x="402" y="348"/>
                    <a:pt x="431" y="304"/>
                    <a:pt x="416" y="274"/>
                  </a:cubicBezTo>
                  <a:cubicBezTo>
                    <a:pt x="454" y="259"/>
                    <a:pt x="416" y="215"/>
                    <a:pt x="402" y="200"/>
                  </a:cubicBezTo>
                  <a:cubicBezTo>
                    <a:pt x="379" y="178"/>
                    <a:pt x="365" y="170"/>
                    <a:pt x="342" y="170"/>
                  </a:cubicBezTo>
                  <a:cubicBezTo>
                    <a:pt x="335" y="170"/>
                    <a:pt x="327" y="170"/>
                    <a:pt x="327" y="170"/>
                  </a:cubicBezTo>
                  <a:cubicBezTo>
                    <a:pt x="283" y="170"/>
                    <a:pt x="231" y="148"/>
                    <a:pt x="186" y="141"/>
                  </a:cubicBezTo>
                  <a:cubicBezTo>
                    <a:pt x="186" y="81"/>
                    <a:pt x="142" y="59"/>
                    <a:pt x="127" y="0"/>
                  </a:cubicBezTo>
                  <a:cubicBezTo>
                    <a:pt x="90" y="0"/>
                    <a:pt x="67" y="0"/>
                    <a:pt x="60" y="29"/>
                  </a:cubicBezTo>
                  <a:cubicBezTo>
                    <a:pt x="38" y="37"/>
                    <a:pt x="23" y="29"/>
                    <a:pt x="0" y="29"/>
                  </a:cubicBezTo>
                  <a:cubicBezTo>
                    <a:pt x="15" y="59"/>
                    <a:pt x="23" y="81"/>
                    <a:pt x="30" y="111"/>
                  </a:cubicBezTo>
                  <a:cubicBezTo>
                    <a:pt x="45" y="141"/>
                    <a:pt x="45" y="170"/>
                    <a:pt x="67" y="193"/>
                  </a:cubicBezTo>
                  <a:cubicBezTo>
                    <a:pt x="82" y="200"/>
                    <a:pt x="142" y="222"/>
                    <a:pt x="157" y="222"/>
                  </a:cubicBezTo>
                  <a:cubicBezTo>
                    <a:pt x="134" y="222"/>
                    <a:pt x="67" y="222"/>
                    <a:pt x="105" y="259"/>
                  </a:cubicBezTo>
                  <a:cubicBezTo>
                    <a:pt x="127" y="282"/>
                    <a:pt x="171" y="252"/>
                    <a:pt x="186" y="282"/>
                  </a:cubicBezTo>
                  <a:cubicBezTo>
                    <a:pt x="164" y="282"/>
                    <a:pt x="134" y="274"/>
                    <a:pt x="119" y="282"/>
                  </a:cubicBezTo>
                  <a:cubicBezTo>
                    <a:pt x="149" y="341"/>
                    <a:pt x="194" y="400"/>
                    <a:pt x="186" y="475"/>
                  </a:cubicBezTo>
                  <a:cubicBezTo>
                    <a:pt x="179" y="475"/>
                    <a:pt x="179" y="475"/>
                    <a:pt x="179" y="475"/>
                  </a:cubicBezTo>
                  <a:cubicBezTo>
                    <a:pt x="171" y="497"/>
                    <a:pt x="201" y="505"/>
                    <a:pt x="208" y="527"/>
                  </a:cubicBezTo>
                  <a:cubicBezTo>
                    <a:pt x="223" y="549"/>
                    <a:pt x="231" y="564"/>
                    <a:pt x="246" y="586"/>
                  </a:cubicBezTo>
                  <a:cubicBezTo>
                    <a:pt x="260" y="616"/>
                    <a:pt x="253" y="631"/>
                    <a:pt x="260" y="653"/>
                  </a:cubicBezTo>
                  <a:cubicBezTo>
                    <a:pt x="268" y="675"/>
                    <a:pt x="290" y="675"/>
                    <a:pt x="305" y="690"/>
                  </a:cubicBezTo>
                  <a:lnTo>
                    <a:pt x="312" y="690"/>
                  </a:lnTo>
                  <a:cubicBezTo>
                    <a:pt x="312" y="683"/>
                    <a:pt x="312" y="668"/>
                    <a:pt x="312" y="660"/>
                  </a:cubicBezTo>
                </a:path>
              </a:pathLst>
            </a:custGeom>
            <a:grpFill/>
            <a:ln w="6350" cap="flat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lIns="60927" tIns="30463" rIns="60927" bIns="30463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3" name="Freeform 5"/>
            <p:cNvSpPr>
              <a:spLocks noChangeArrowheads="1"/>
            </p:cNvSpPr>
            <p:nvPr/>
          </p:nvSpPr>
          <p:spPr bwMode="auto">
            <a:xfrm>
              <a:off x="9523671" y="8919014"/>
              <a:ext cx="1416430" cy="2179432"/>
            </a:xfrm>
            <a:custGeom>
              <a:avLst/>
              <a:gdLst>
                <a:gd name="T0" fmla="*/ 720 w 3276"/>
                <a:gd name="T1" fmla="*/ 4158 h 5043"/>
                <a:gd name="T2" fmla="*/ 809 w 3276"/>
                <a:gd name="T3" fmla="*/ 4262 h 5043"/>
                <a:gd name="T4" fmla="*/ 891 w 3276"/>
                <a:gd name="T5" fmla="*/ 4411 h 5043"/>
                <a:gd name="T6" fmla="*/ 1262 w 3276"/>
                <a:gd name="T7" fmla="*/ 4745 h 5043"/>
                <a:gd name="T8" fmla="*/ 1500 w 3276"/>
                <a:gd name="T9" fmla="*/ 4864 h 5043"/>
                <a:gd name="T10" fmla="*/ 1730 w 3276"/>
                <a:gd name="T11" fmla="*/ 4968 h 5043"/>
                <a:gd name="T12" fmla="*/ 2050 w 3276"/>
                <a:gd name="T13" fmla="*/ 4886 h 5043"/>
                <a:gd name="T14" fmla="*/ 2398 w 3276"/>
                <a:gd name="T15" fmla="*/ 4938 h 5043"/>
                <a:gd name="T16" fmla="*/ 2629 w 3276"/>
                <a:gd name="T17" fmla="*/ 4634 h 5043"/>
                <a:gd name="T18" fmla="*/ 2525 w 3276"/>
                <a:gd name="T19" fmla="*/ 4262 h 5043"/>
                <a:gd name="T20" fmla="*/ 2941 w 3276"/>
                <a:gd name="T21" fmla="*/ 4180 h 5043"/>
                <a:gd name="T22" fmla="*/ 3067 w 3276"/>
                <a:gd name="T23" fmla="*/ 4040 h 5043"/>
                <a:gd name="T24" fmla="*/ 3253 w 3276"/>
                <a:gd name="T25" fmla="*/ 3787 h 5043"/>
                <a:gd name="T26" fmla="*/ 2993 w 3276"/>
                <a:gd name="T27" fmla="*/ 3601 h 5043"/>
                <a:gd name="T28" fmla="*/ 2933 w 3276"/>
                <a:gd name="T29" fmla="*/ 3497 h 5043"/>
                <a:gd name="T30" fmla="*/ 2822 w 3276"/>
                <a:gd name="T31" fmla="*/ 3297 h 5043"/>
                <a:gd name="T32" fmla="*/ 2673 w 3276"/>
                <a:gd name="T33" fmla="*/ 3393 h 5043"/>
                <a:gd name="T34" fmla="*/ 2473 w 3276"/>
                <a:gd name="T35" fmla="*/ 3430 h 5043"/>
                <a:gd name="T36" fmla="*/ 2131 w 3276"/>
                <a:gd name="T37" fmla="*/ 3386 h 5043"/>
                <a:gd name="T38" fmla="*/ 2064 w 3276"/>
                <a:gd name="T39" fmla="*/ 3119 h 5043"/>
                <a:gd name="T40" fmla="*/ 2406 w 3276"/>
                <a:gd name="T41" fmla="*/ 3289 h 5043"/>
                <a:gd name="T42" fmla="*/ 2465 w 3276"/>
                <a:gd name="T43" fmla="*/ 3030 h 5043"/>
                <a:gd name="T44" fmla="*/ 2361 w 3276"/>
                <a:gd name="T45" fmla="*/ 2992 h 5043"/>
                <a:gd name="T46" fmla="*/ 2109 w 3276"/>
                <a:gd name="T47" fmla="*/ 2985 h 5043"/>
                <a:gd name="T48" fmla="*/ 2101 w 3276"/>
                <a:gd name="T49" fmla="*/ 2888 h 5043"/>
                <a:gd name="T50" fmla="*/ 2042 w 3276"/>
                <a:gd name="T51" fmla="*/ 2658 h 5043"/>
                <a:gd name="T52" fmla="*/ 2191 w 3276"/>
                <a:gd name="T53" fmla="*/ 2480 h 5043"/>
                <a:gd name="T54" fmla="*/ 2198 w 3276"/>
                <a:gd name="T55" fmla="*/ 2198 h 5043"/>
                <a:gd name="T56" fmla="*/ 2599 w 3276"/>
                <a:gd name="T57" fmla="*/ 1864 h 5043"/>
                <a:gd name="T58" fmla="*/ 2421 w 3276"/>
                <a:gd name="T59" fmla="*/ 1470 h 5043"/>
                <a:gd name="T60" fmla="*/ 2569 w 3276"/>
                <a:gd name="T61" fmla="*/ 1225 h 5043"/>
                <a:gd name="T62" fmla="*/ 2614 w 3276"/>
                <a:gd name="T63" fmla="*/ 883 h 5043"/>
                <a:gd name="T64" fmla="*/ 2658 w 3276"/>
                <a:gd name="T65" fmla="*/ 601 h 5043"/>
                <a:gd name="T66" fmla="*/ 2822 w 3276"/>
                <a:gd name="T67" fmla="*/ 230 h 5043"/>
                <a:gd name="T68" fmla="*/ 2718 w 3276"/>
                <a:gd name="T69" fmla="*/ 156 h 5043"/>
                <a:gd name="T70" fmla="*/ 2495 w 3276"/>
                <a:gd name="T71" fmla="*/ 141 h 5043"/>
                <a:gd name="T72" fmla="*/ 2302 w 3276"/>
                <a:gd name="T73" fmla="*/ 334 h 5043"/>
                <a:gd name="T74" fmla="*/ 2176 w 3276"/>
                <a:gd name="T75" fmla="*/ 430 h 5043"/>
                <a:gd name="T76" fmla="*/ 1856 w 3276"/>
                <a:gd name="T77" fmla="*/ 534 h 5043"/>
                <a:gd name="T78" fmla="*/ 1760 w 3276"/>
                <a:gd name="T79" fmla="*/ 720 h 5043"/>
                <a:gd name="T80" fmla="*/ 1396 w 3276"/>
                <a:gd name="T81" fmla="*/ 616 h 5043"/>
                <a:gd name="T82" fmla="*/ 1322 w 3276"/>
                <a:gd name="T83" fmla="*/ 928 h 5043"/>
                <a:gd name="T84" fmla="*/ 1002 w 3276"/>
                <a:gd name="T85" fmla="*/ 1024 h 5043"/>
                <a:gd name="T86" fmla="*/ 676 w 3276"/>
                <a:gd name="T87" fmla="*/ 1106 h 5043"/>
                <a:gd name="T88" fmla="*/ 356 w 3276"/>
                <a:gd name="T89" fmla="*/ 1173 h 5043"/>
                <a:gd name="T90" fmla="*/ 260 w 3276"/>
                <a:gd name="T91" fmla="*/ 1411 h 5043"/>
                <a:gd name="T92" fmla="*/ 289 w 3276"/>
                <a:gd name="T93" fmla="*/ 1730 h 5043"/>
                <a:gd name="T94" fmla="*/ 89 w 3276"/>
                <a:gd name="T95" fmla="*/ 1886 h 5043"/>
                <a:gd name="T96" fmla="*/ 200 w 3276"/>
                <a:gd name="T97" fmla="*/ 1997 h 5043"/>
                <a:gd name="T98" fmla="*/ 200 w 3276"/>
                <a:gd name="T99" fmla="*/ 2257 h 5043"/>
                <a:gd name="T100" fmla="*/ 96 w 3276"/>
                <a:gd name="T101" fmla="*/ 2413 h 5043"/>
                <a:gd name="T102" fmla="*/ 104 w 3276"/>
                <a:gd name="T103" fmla="*/ 2487 h 5043"/>
                <a:gd name="T104" fmla="*/ 260 w 3276"/>
                <a:gd name="T105" fmla="*/ 2688 h 5043"/>
                <a:gd name="T106" fmla="*/ 275 w 3276"/>
                <a:gd name="T107" fmla="*/ 2851 h 5043"/>
                <a:gd name="T108" fmla="*/ 394 w 3276"/>
                <a:gd name="T109" fmla="*/ 3170 h 5043"/>
                <a:gd name="T110" fmla="*/ 379 w 3276"/>
                <a:gd name="T111" fmla="*/ 3505 h 5043"/>
                <a:gd name="T112" fmla="*/ 468 w 3276"/>
                <a:gd name="T113" fmla="*/ 3750 h 5043"/>
                <a:gd name="T114" fmla="*/ 616 w 3276"/>
                <a:gd name="T115" fmla="*/ 4114 h 50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276" h="5043">
                  <a:moveTo>
                    <a:pt x="616" y="4114"/>
                  </a:moveTo>
                  <a:lnTo>
                    <a:pt x="616" y="4114"/>
                  </a:lnTo>
                  <a:cubicBezTo>
                    <a:pt x="639" y="4106"/>
                    <a:pt x="668" y="4143"/>
                    <a:pt x="639" y="4151"/>
                  </a:cubicBezTo>
                  <a:cubicBezTo>
                    <a:pt x="646" y="4166"/>
                    <a:pt x="654" y="4180"/>
                    <a:pt x="668" y="4173"/>
                  </a:cubicBezTo>
                  <a:cubicBezTo>
                    <a:pt x="676" y="4143"/>
                    <a:pt x="691" y="4136"/>
                    <a:pt x="720" y="4158"/>
                  </a:cubicBezTo>
                  <a:cubicBezTo>
                    <a:pt x="757" y="4180"/>
                    <a:pt x="720" y="4188"/>
                    <a:pt x="728" y="4210"/>
                  </a:cubicBezTo>
                  <a:cubicBezTo>
                    <a:pt x="743" y="4210"/>
                    <a:pt x="757" y="4210"/>
                    <a:pt x="772" y="4218"/>
                  </a:cubicBezTo>
                  <a:cubicBezTo>
                    <a:pt x="772" y="4225"/>
                    <a:pt x="765" y="4240"/>
                    <a:pt x="772" y="4247"/>
                  </a:cubicBezTo>
                  <a:cubicBezTo>
                    <a:pt x="772" y="4240"/>
                    <a:pt x="809" y="4210"/>
                    <a:pt x="817" y="4210"/>
                  </a:cubicBezTo>
                  <a:cubicBezTo>
                    <a:pt x="817" y="4225"/>
                    <a:pt x="817" y="4247"/>
                    <a:pt x="809" y="4262"/>
                  </a:cubicBezTo>
                  <a:cubicBezTo>
                    <a:pt x="839" y="4270"/>
                    <a:pt x="839" y="4292"/>
                    <a:pt x="854" y="4314"/>
                  </a:cubicBezTo>
                  <a:cubicBezTo>
                    <a:pt x="861" y="4314"/>
                    <a:pt x="869" y="4314"/>
                    <a:pt x="876" y="4314"/>
                  </a:cubicBezTo>
                  <a:cubicBezTo>
                    <a:pt x="876" y="4292"/>
                    <a:pt x="921" y="4292"/>
                    <a:pt x="913" y="4322"/>
                  </a:cubicBezTo>
                  <a:cubicBezTo>
                    <a:pt x="899" y="4337"/>
                    <a:pt x="876" y="4344"/>
                    <a:pt x="876" y="4366"/>
                  </a:cubicBezTo>
                  <a:cubicBezTo>
                    <a:pt x="876" y="4381"/>
                    <a:pt x="891" y="4388"/>
                    <a:pt x="891" y="4411"/>
                  </a:cubicBezTo>
                  <a:cubicBezTo>
                    <a:pt x="891" y="4455"/>
                    <a:pt x="906" y="4448"/>
                    <a:pt x="951" y="4463"/>
                  </a:cubicBezTo>
                  <a:cubicBezTo>
                    <a:pt x="980" y="4470"/>
                    <a:pt x="1017" y="4537"/>
                    <a:pt x="1010" y="4567"/>
                  </a:cubicBezTo>
                  <a:cubicBezTo>
                    <a:pt x="1047" y="4567"/>
                    <a:pt x="1069" y="4604"/>
                    <a:pt x="1091" y="4619"/>
                  </a:cubicBezTo>
                  <a:cubicBezTo>
                    <a:pt x="1121" y="4641"/>
                    <a:pt x="1188" y="4626"/>
                    <a:pt x="1196" y="4663"/>
                  </a:cubicBezTo>
                  <a:cubicBezTo>
                    <a:pt x="1203" y="4708"/>
                    <a:pt x="1210" y="4730"/>
                    <a:pt x="1262" y="4745"/>
                  </a:cubicBezTo>
                  <a:cubicBezTo>
                    <a:pt x="1277" y="4752"/>
                    <a:pt x="1299" y="4752"/>
                    <a:pt x="1322" y="4752"/>
                  </a:cubicBezTo>
                  <a:cubicBezTo>
                    <a:pt x="1344" y="4752"/>
                    <a:pt x="1381" y="4730"/>
                    <a:pt x="1403" y="4737"/>
                  </a:cubicBezTo>
                  <a:cubicBezTo>
                    <a:pt x="1403" y="4760"/>
                    <a:pt x="1403" y="4782"/>
                    <a:pt x="1403" y="4804"/>
                  </a:cubicBezTo>
                  <a:cubicBezTo>
                    <a:pt x="1426" y="4804"/>
                    <a:pt x="1463" y="4797"/>
                    <a:pt x="1478" y="4819"/>
                  </a:cubicBezTo>
                  <a:cubicBezTo>
                    <a:pt x="1485" y="4827"/>
                    <a:pt x="1485" y="4864"/>
                    <a:pt x="1500" y="4864"/>
                  </a:cubicBezTo>
                  <a:cubicBezTo>
                    <a:pt x="1500" y="4856"/>
                    <a:pt x="1500" y="4856"/>
                    <a:pt x="1500" y="4856"/>
                  </a:cubicBezTo>
                  <a:cubicBezTo>
                    <a:pt x="1530" y="4849"/>
                    <a:pt x="1545" y="4893"/>
                    <a:pt x="1567" y="4908"/>
                  </a:cubicBezTo>
                  <a:cubicBezTo>
                    <a:pt x="1596" y="4916"/>
                    <a:pt x="1634" y="4901"/>
                    <a:pt x="1648" y="4931"/>
                  </a:cubicBezTo>
                  <a:cubicBezTo>
                    <a:pt x="1648" y="4938"/>
                    <a:pt x="1648" y="4945"/>
                    <a:pt x="1648" y="4968"/>
                  </a:cubicBezTo>
                  <a:cubicBezTo>
                    <a:pt x="1671" y="4960"/>
                    <a:pt x="1708" y="4953"/>
                    <a:pt x="1730" y="4968"/>
                  </a:cubicBezTo>
                  <a:cubicBezTo>
                    <a:pt x="1738" y="4975"/>
                    <a:pt x="1745" y="5034"/>
                    <a:pt x="1738" y="5034"/>
                  </a:cubicBezTo>
                  <a:cubicBezTo>
                    <a:pt x="1760" y="5042"/>
                    <a:pt x="1782" y="5027"/>
                    <a:pt x="1797" y="5020"/>
                  </a:cubicBezTo>
                  <a:cubicBezTo>
                    <a:pt x="1827" y="5020"/>
                    <a:pt x="1856" y="5020"/>
                    <a:pt x="1879" y="5027"/>
                  </a:cubicBezTo>
                  <a:cubicBezTo>
                    <a:pt x="1946" y="5034"/>
                    <a:pt x="1946" y="5020"/>
                    <a:pt x="1960" y="4968"/>
                  </a:cubicBezTo>
                  <a:cubicBezTo>
                    <a:pt x="1968" y="4923"/>
                    <a:pt x="2005" y="4893"/>
                    <a:pt x="2050" y="4886"/>
                  </a:cubicBezTo>
                  <a:cubicBezTo>
                    <a:pt x="2072" y="4886"/>
                    <a:pt x="2094" y="4879"/>
                    <a:pt x="2116" y="4893"/>
                  </a:cubicBezTo>
                  <a:cubicBezTo>
                    <a:pt x="2124" y="4908"/>
                    <a:pt x="2131" y="4938"/>
                    <a:pt x="2153" y="4931"/>
                  </a:cubicBezTo>
                  <a:cubicBezTo>
                    <a:pt x="2161" y="4923"/>
                    <a:pt x="2161" y="4908"/>
                    <a:pt x="2161" y="4901"/>
                  </a:cubicBezTo>
                  <a:cubicBezTo>
                    <a:pt x="2205" y="4886"/>
                    <a:pt x="2243" y="4893"/>
                    <a:pt x="2287" y="4908"/>
                  </a:cubicBezTo>
                  <a:cubicBezTo>
                    <a:pt x="2317" y="4908"/>
                    <a:pt x="2369" y="4938"/>
                    <a:pt x="2398" y="4938"/>
                  </a:cubicBezTo>
                  <a:cubicBezTo>
                    <a:pt x="2406" y="4901"/>
                    <a:pt x="2406" y="4856"/>
                    <a:pt x="2436" y="4827"/>
                  </a:cubicBezTo>
                  <a:cubicBezTo>
                    <a:pt x="2473" y="4789"/>
                    <a:pt x="2532" y="4804"/>
                    <a:pt x="2577" y="4804"/>
                  </a:cubicBezTo>
                  <a:cubicBezTo>
                    <a:pt x="2577" y="4782"/>
                    <a:pt x="2577" y="4760"/>
                    <a:pt x="2599" y="4745"/>
                  </a:cubicBezTo>
                  <a:cubicBezTo>
                    <a:pt x="2606" y="4737"/>
                    <a:pt x="2621" y="4737"/>
                    <a:pt x="2621" y="4722"/>
                  </a:cubicBezTo>
                  <a:cubicBezTo>
                    <a:pt x="2629" y="4693"/>
                    <a:pt x="2636" y="4663"/>
                    <a:pt x="2629" y="4634"/>
                  </a:cubicBezTo>
                  <a:cubicBezTo>
                    <a:pt x="2606" y="4574"/>
                    <a:pt x="2465" y="4619"/>
                    <a:pt x="2428" y="4574"/>
                  </a:cubicBezTo>
                  <a:cubicBezTo>
                    <a:pt x="2450" y="4552"/>
                    <a:pt x="2503" y="4522"/>
                    <a:pt x="2525" y="4500"/>
                  </a:cubicBezTo>
                  <a:cubicBezTo>
                    <a:pt x="2547" y="4470"/>
                    <a:pt x="2540" y="4426"/>
                    <a:pt x="2540" y="4381"/>
                  </a:cubicBezTo>
                  <a:cubicBezTo>
                    <a:pt x="2532" y="4388"/>
                    <a:pt x="2525" y="4381"/>
                    <a:pt x="2517" y="4381"/>
                  </a:cubicBezTo>
                  <a:cubicBezTo>
                    <a:pt x="2532" y="4351"/>
                    <a:pt x="2525" y="4299"/>
                    <a:pt x="2525" y="4262"/>
                  </a:cubicBezTo>
                  <a:cubicBezTo>
                    <a:pt x="2562" y="4262"/>
                    <a:pt x="2644" y="4277"/>
                    <a:pt x="2666" y="4232"/>
                  </a:cubicBezTo>
                  <a:cubicBezTo>
                    <a:pt x="2681" y="4203"/>
                    <a:pt x="2681" y="4166"/>
                    <a:pt x="2688" y="4129"/>
                  </a:cubicBezTo>
                  <a:cubicBezTo>
                    <a:pt x="2695" y="4099"/>
                    <a:pt x="2785" y="4121"/>
                    <a:pt x="2800" y="4143"/>
                  </a:cubicBezTo>
                  <a:cubicBezTo>
                    <a:pt x="2844" y="4203"/>
                    <a:pt x="2844" y="4114"/>
                    <a:pt x="2889" y="4129"/>
                  </a:cubicBezTo>
                  <a:cubicBezTo>
                    <a:pt x="2911" y="4143"/>
                    <a:pt x="2918" y="4166"/>
                    <a:pt x="2941" y="4180"/>
                  </a:cubicBezTo>
                  <a:cubicBezTo>
                    <a:pt x="2955" y="4188"/>
                    <a:pt x="2978" y="4188"/>
                    <a:pt x="3000" y="4195"/>
                  </a:cubicBezTo>
                  <a:cubicBezTo>
                    <a:pt x="3000" y="4195"/>
                    <a:pt x="3000" y="4203"/>
                    <a:pt x="3008" y="4203"/>
                  </a:cubicBezTo>
                  <a:cubicBezTo>
                    <a:pt x="3015" y="4173"/>
                    <a:pt x="3022" y="4136"/>
                    <a:pt x="3037" y="4129"/>
                  </a:cubicBezTo>
                  <a:cubicBezTo>
                    <a:pt x="3052" y="4121"/>
                    <a:pt x="3104" y="4121"/>
                    <a:pt x="3097" y="4091"/>
                  </a:cubicBezTo>
                  <a:cubicBezTo>
                    <a:pt x="3060" y="4091"/>
                    <a:pt x="3015" y="4047"/>
                    <a:pt x="3067" y="4040"/>
                  </a:cubicBezTo>
                  <a:cubicBezTo>
                    <a:pt x="3111" y="4040"/>
                    <a:pt x="3119" y="4114"/>
                    <a:pt x="3156" y="4114"/>
                  </a:cubicBezTo>
                  <a:cubicBezTo>
                    <a:pt x="3200" y="4114"/>
                    <a:pt x="3163" y="4025"/>
                    <a:pt x="3163" y="4002"/>
                  </a:cubicBezTo>
                  <a:cubicBezTo>
                    <a:pt x="3171" y="3965"/>
                    <a:pt x="3193" y="3965"/>
                    <a:pt x="3230" y="3965"/>
                  </a:cubicBezTo>
                  <a:cubicBezTo>
                    <a:pt x="3230" y="3950"/>
                    <a:pt x="3223" y="3913"/>
                    <a:pt x="3245" y="3913"/>
                  </a:cubicBezTo>
                  <a:cubicBezTo>
                    <a:pt x="3253" y="3891"/>
                    <a:pt x="3275" y="3802"/>
                    <a:pt x="3253" y="3787"/>
                  </a:cubicBezTo>
                  <a:cubicBezTo>
                    <a:pt x="3215" y="3765"/>
                    <a:pt x="3163" y="3780"/>
                    <a:pt x="3126" y="3780"/>
                  </a:cubicBezTo>
                  <a:cubicBezTo>
                    <a:pt x="3126" y="3765"/>
                    <a:pt x="3119" y="3750"/>
                    <a:pt x="3111" y="3735"/>
                  </a:cubicBezTo>
                  <a:cubicBezTo>
                    <a:pt x="3111" y="3713"/>
                    <a:pt x="3111" y="3690"/>
                    <a:pt x="3119" y="3668"/>
                  </a:cubicBezTo>
                  <a:cubicBezTo>
                    <a:pt x="3119" y="3646"/>
                    <a:pt x="3134" y="3594"/>
                    <a:pt x="3111" y="3579"/>
                  </a:cubicBezTo>
                  <a:cubicBezTo>
                    <a:pt x="3089" y="3564"/>
                    <a:pt x="2993" y="3564"/>
                    <a:pt x="2993" y="3601"/>
                  </a:cubicBezTo>
                  <a:cubicBezTo>
                    <a:pt x="2985" y="3601"/>
                    <a:pt x="2985" y="3601"/>
                    <a:pt x="2978" y="3601"/>
                  </a:cubicBezTo>
                  <a:cubicBezTo>
                    <a:pt x="2978" y="3572"/>
                    <a:pt x="2985" y="3557"/>
                    <a:pt x="2985" y="3535"/>
                  </a:cubicBezTo>
                  <a:cubicBezTo>
                    <a:pt x="2978" y="3527"/>
                    <a:pt x="2970" y="3527"/>
                    <a:pt x="2963" y="3520"/>
                  </a:cubicBezTo>
                  <a:cubicBezTo>
                    <a:pt x="2941" y="3512"/>
                    <a:pt x="2933" y="3527"/>
                    <a:pt x="2911" y="3520"/>
                  </a:cubicBezTo>
                  <a:cubicBezTo>
                    <a:pt x="2889" y="3497"/>
                    <a:pt x="2911" y="3497"/>
                    <a:pt x="2933" y="3497"/>
                  </a:cubicBezTo>
                  <a:cubicBezTo>
                    <a:pt x="2941" y="3468"/>
                    <a:pt x="2963" y="3378"/>
                    <a:pt x="2926" y="3364"/>
                  </a:cubicBezTo>
                  <a:cubicBezTo>
                    <a:pt x="2903" y="3356"/>
                    <a:pt x="2844" y="3356"/>
                    <a:pt x="2851" y="3386"/>
                  </a:cubicBezTo>
                  <a:cubicBezTo>
                    <a:pt x="2844" y="3386"/>
                    <a:pt x="2829" y="3386"/>
                    <a:pt x="2829" y="3386"/>
                  </a:cubicBezTo>
                  <a:cubicBezTo>
                    <a:pt x="2822" y="3349"/>
                    <a:pt x="2851" y="3334"/>
                    <a:pt x="2851" y="3297"/>
                  </a:cubicBezTo>
                  <a:cubicBezTo>
                    <a:pt x="2844" y="3297"/>
                    <a:pt x="2829" y="3297"/>
                    <a:pt x="2822" y="3297"/>
                  </a:cubicBezTo>
                  <a:cubicBezTo>
                    <a:pt x="2822" y="3304"/>
                    <a:pt x="2822" y="3319"/>
                    <a:pt x="2822" y="3327"/>
                  </a:cubicBezTo>
                  <a:cubicBezTo>
                    <a:pt x="2814" y="3327"/>
                    <a:pt x="2807" y="3327"/>
                    <a:pt x="2800" y="3327"/>
                  </a:cubicBezTo>
                  <a:cubicBezTo>
                    <a:pt x="2800" y="3297"/>
                    <a:pt x="2740" y="3304"/>
                    <a:pt x="2718" y="3304"/>
                  </a:cubicBezTo>
                  <a:cubicBezTo>
                    <a:pt x="2733" y="3319"/>
                    <a:pt x="2725" y="3334"/>
                    <a:pt x="2725" y="3349"/>
                  </a:cubicBezTo>
                  <a:cubicBezTo>
                    <a:pt x="2703" y="3356"/>
                    <a:pt x="2688" y="3371"/>
                    <a:pt x="2673" y="3393"/>
                  </a:cubicBezTo>
                  <a:cubicBezTo>
                    <a:pt x="2658" y="3408"/>
                    <a:pt x="2629" y="3408"/>
                    <a:pt x="2606" y="3408"/>
                  </a:cubicBezTo>
                  <a:cubicBezTo>
                    <a:pt x="2606" y="3416"/>
                    <a:pt x="2606" y="3416"/>
                    <a:pt x="2606" y="3423"/>
                  </a:cubicBezTo>
                  <a:cubicBezTo>
                    <a:pt x="2569" y="3423"/>
                    <a:pt x="2525" y="3423"/>
                    <a:pt x="2488" y="3423"/>
                  </a:cubicBezTo>
                  <a:cubicBezTo>
                    <a:pt x="2488" y="3430"/>
                    <a:pt x="2488" y="3453"/>
                    <a:pt x="2473" y="3453"/>
                  </a:cubicBezTo>
                  <a:cubicBezTo>
                    <a:pt x="2473" y="3453"/>
                    <a:pt x="2465" y="3438"/>
                    <a:pt x="2473" y="3430"/>
                  </a:cubicBezTo>
                  <a:cubicBezTo>
                    <a:pt x="2428" y="3430"/>
                    <a:pt x="2436" y="3386"/>
                    <a:pt x="2436" y="3349"/>
                  </a:cubicBezTo>
                  <a:cubicBezTo>
                    <a:pt x="2398" y="3349"/>
                    <a:pt x="2332" y="3349"/>
                    <a:pt x="2302" y="3327"/>
                  </a:cubicBezTo>
                  <a:cubicBezTo>
                    <a:pt x="2280" y="3312"/>
                    <a:pt x="2272" y="3282"/>
                    <a:pt x="2235" y="3289"/>
                  </a:cubicBezTo>
                  <a:cubicBezTo>
                    <a:pt x="2235" y="3304"/>
                    <a:pt x="2250" y="3393"/>
                    <a:pt x="2228" y="3393"/>
                  </a:cubicBezTo>
                  <a:cubicBezTo>
                    <a:pt x="2198" y="3401"/>
                    <a:pt x="2161" y="3393"/>
                    <a:pt x="2131" y="3386"/>
                  </a:cubicBezTo>
                  <a:cubicBezTo>
                    <a:pt x="2124" y="3364"/>
                    <a:pt x="2139" y="3334"/>
                    <a:pt x="2146" y="3312"/>
                  </a:cubicBezTo>
                  <a:cubicBezTo>
                    <a:pt x="2198" y="3312"/>
                    <a:pt x="2198" y="3260"/>
                    <a:pt x="2168" y="3230"/>
                  </a:cubicBezTo>
                  <a:cubicBezTo>
                    <a:pt x="2153" y="3215"/>
                    <a:pt x="2139" y="3215"/>
                    <a:pt x="2131" y="3208"/>
                  </a:cubicBezTo>
                  <a:cubicBezTo>
                    <a:pt x="2109" y="3193"/>
                    <a:pt x="2131" y="3163"/>
                    <a:pt x="2131" y="3141"/>
                  </a:cubicBezTo>
                  <a:cubicBezTo>
                    <a:pt x="2109" y="3141"/>
                    <a:pt x="2087" y="3119"/>
                    <a:pt x="2064" y="3119"/>
                  </a:cubicBezTo>
                  <a:cubicBezTo>
                    <a:pt x="2064" y="3104"/>
                    <a:pt x="2064" y="3096"/>
                    <a:pt x="2072" y="3089"/>
                  </a:cubicBezTo>
                  <a:cubicBezTo>
                    <a:pt x="2124" y="3089"/>
                    <a:pt x="2161" y="3119"/>
                    <a:pt x="2176" y="3170"/>
                  </a:cubicBezTo>
                  <a:cubicBezTo>
                    <a:pt x="2191" y="3215"/>
                    <a:pt x="2250" y="3185"/>
                    <a:pt x="2250" y="3252"/>
                  </a:cubicBezTo>
                  <a:cubicBezTo>
                    <a:pt x="2265" y="3252"/>
                    <a:pt x="2280" y="3245"/>
                    <a:pt x="2280" y="3230"/>
                  </a:cubicBezTo>
                  <a:cubicBezTo>
                    <a:pt x="2339" y="3223"/>
                    <a:pt x="2376" y="3238"/>
                    <a:pt x="2406" y="3289"/>
                  </a:cubicBezTo>
                  <a:cubicBezTo>
                    <a:pt x="2428" y="3356"/>
                    <a:pt x="2503" y="3267"/>
                    <a:pt x="2443" y="3252"/>
                  </a:cubicBezTo>
                  <a:cubicBezTo>
                    <a:pt x="2398" y="3238"/>
                    <a:pt x="2391" y="3170"/>
                    <a:pt x="2421" y="3141"/>
                  </a:cubicBezTo>
                  <a:cubicBezTo>
                    <a:pt x="2443" y="3119"/>
                    <a:pt x="2532" y="3156"/>
                    <a:pt x="2517" y="3104"/>
                  </a:cubicBezTo>
                  <a:cubicBezTo>
                    <a:pt x="2495" y="3104"/>
                    <a:pt x="2480" y="3081"/>
                    <a:pt x="2473" y="3059"/>
                  </a:cubicBezTo>
                  <a:cubicBezTo>
                    <a:pt x="2473" y="3052"/>
                    <a:pt x="2465" y="3044"/>
                    <a:pt x="2465" y="3030"/>
                  </a:cubicBezTo>
                  <a:cubicBezTo>
                    <a:pt x="2458" y="3000"/>
                    <a:pt x="2443" y="3015"/>
                    <a:pt x="2428" y="3000"/>
                  </a:cubicBezTo>
                  <a:cubicBezTo>
                    <a:pt x="2428" y="3015"/>
                    <a:pt x="2443" y="3074"/>
                    <a:pt x="2443" y="3081"/>
                  </a:cubicBezTo>
                  <a:cubicBezTo>
                    <a:pt x="2436" y="3096"/>
                    <a:pt x="2398" y="3052"/>
                    <a:pt x="2376" y="3052"/>
                  </a:cubicBezTo>
                  <a:cubicBezTo>
                    <a:pt x="2376" y="3030"/>
                    <a:pt x="2369" y="3007"/>
                    <a:pt x="2369" y="2992"/>
                  </a:cubicBezTo>
                  <a:cubicBezTo>
                    <a:pt x="2369" y="2992"/>
                    <a:pt x="2369" y="2992"/>
                    <a:pt x="2361" y="2992"/>
                  </a:cubicBezTo>
                  <a:cubicBezTo>
                    <a:pt x="2354" y="3022"/>
                    <a:pt x="2317" y="3007"/>
                    <a:pt x="2295" y="3007"/>
                  </a:cubicBezTo>
                  <a:cubicBezTo>
                    <a:pt x="2243" y="2992"/>
                    <a:pt x="2243" y="3030"/>
                    <a:pt x="2235" y="3067"/>
                  </a:cubicBezTo>
                  <a:cubicBezTo>
                    <a:pt x="2220" y="3067"/>
                    <a:pt x="2213" y="3067"/>
                    <a:pt x="2198" y="3067"/>
                  </a:cubicBezTo>
                  <a:cubicBezTo>
                    <a:pt x="2191" y="3044"/>
                    <a:pt x="2153" y="3059"/>
                    <a:pt x="2131" y="3052"/>
                  </a:cubicBezTo>
                  <a:cubicBezTo>
                    <a:pt x="2094" y="3052"/>
                    <a:pt x="2109" y="3007"/>
                    <a:pt x="2109" y="2985"/>
                  </a:cubicBezTo>
                  <a:cubicBezTo>
                    <a:pt x="2079" y="2985"/>
                    <a:pt x="2079" y="2963"/>
                    <a:pt x="2079" y="2948"/>
                  </a:cubicBezTo>
                  <a:lnTo>
                    <a:pt x="2087" y="2948"/>
                  </a:lnTo>
                  <a:cubicBezTo>
                    <a:pt x="2094" y="2933"/>
                    <a:pt x="2094" y="2940"/>
                    <a:pt x="2101" y="2933"/>
                  </a:cubicBezTo>
                  <a:cubicBezTo>
                    <a:pt x="2101" y="2911"/>
                    <a:pt x="2116" y="2903"/>
                    <a:pt x="2139" y="2903"/>
                  </a:cubicBezTo>
                  <a:cubicBezTo>
                    <a:pt x="2146" y="2873"/>
                    <a:pt x="2116" y="2881"/>
                    <a:pt x="2101" y="2888"/>
                  </a:cubicBezTo>
                  <a:cubicBezTo>
                    <a:pt x="2072" y="2888"/>
                    <a:pt x="2064" y="2859"/>
                    <a:pt x="2035" y="2851"/>
                  </a:cubicBezTo>
                  <a:cubicBezTo>
                    <a:pt x="2042" y="2829"/>
                    <a:pt x="2027" y="2829"/>
                    <a:pt x="2012" y="2814"/>
                  </a:cubicBezTo>
                  <a:cubicBezTo>
                    <a:pt x="1998" y="2799"/>
                    <a:pt x="1998" y="2770"/>
                    <a:pt x="1998" y="2747"/>
                  </a:cubicBezTo>
                  <a:cubicBezTo>
                    <a:pt x="2005" y="2740"/>
                    <a:pt x="2020" y="2666"/>
                    <a:pt x="2020" y="2666"/>
                  </a:cubicBezTo>
                  <a:cubicBezTo>
                    <a:pt x="2027" y="2666"/>
                    <a:pt x="2035" y="2658"/>
                    <a:pt x="2042" y="2658"/>
                  </a:cubicBezTo>
                  <a:cubicBezTo>
                    <a:pt x="2050" y="2614"/>
                    <a:pt x="2057" y="2569"/>
                    <a:pt x="2064" y="2517"/>
                  </a:cubicBezTo>
                  <a:cubicBezTo>
                    <a:pt x="2012" y="2517"/>
                    <a:pt x="2005" y="2502"/>
                    <a:pt x="2012" y="2458"/>
                  </a:cubicBezTo>
                  <a:cubicBezTo>
                    <a:pt x="2027" y="2458"/>
                    <a:pt x="2027" y="2435"/>
                    <a:pt x="2035" y="2421"/>
                  </a:cubicBezTo>
                  <a:cubicBezTo>
                    <a:pt x="2057" y="2443"/>
                    <a:pt x="2072" y="2495"/>
                    <a:pt x="2109" y="2487"/>
                  </a:cubicBezTo>
                  <a:cubicBezTo>
                    <a:pt x="2139" y="2487"/>
                    <a:pt x="2168" y="2473"/>
                    <a:pt x="2191" y="2480"/>
                  </a:cubicBezTo>
                  <a:cubicBezTo>
                    <a:pt x="2228" y="2487"/>
                    <a:pt x="2243" y="2510"/>
                    <a:pt x="2265" y="2473"/>
                  </a:cubicBezTo>
                  <a:cubicBezTo>
                    <a:pt x="2287" y="2443"/>
                    <a:pt x="2324" y="2435"/>
                    <a:pt x="2309" y="2391"/>
                  </a:cubicBezTo>
                  <a:cubicBezTo>
                    <a:pt x="2309" y="2383"/>
                    <a:pt x="2287" y="2383"/>
                    <a:pt x="2287" y="2376"/>
                  </a:cubicBezTo>
                  <a:cubicBezTo>
                    <a:pt x="2272" y="2361"/>
                    <a:pt x="2280" y="2324"/>
                    <a:pt x="2280" y="2302"/>
                  </a:cubicBezTo>
                  <a:cubicBezTo>
                    <a:pt x="2280" y="2257"/>
                    <a:pt x="2220" y="2228"/>
                    <a:pt x="2198" y="2198"/>
                  </a:cubicBezTo>
                  <a:cubicBezTo>
                    <a:pt x="2168" y="2176"/>
                    <a:pt x="2228" y="2153"/>
                    <a:pt x="2228" y="2116"/>
                  </a:cubicBezTo>
                  <a:cubicBezTo>
                    <a:pt x="2235" y="2071"/>
                    <a:pt x="2235" y="2049"/>
                    <a:pt x="2287" y="2049"/>
                  </a:cubicBezTo>
                  <a:cubicBezTo>
                    <a:pt x="2287" y="2034"/>
                    <a:pt x="2287" y="2020"/>
                    <a:pt x="2280" y="2005"/>
                  </a:cubicBezTo>
                  <a:cubicBezTo>
                    <a:pt x="2243" y="1990"/>
                    <a:pt x="2243" y="1945"/>
                    <a:pt x="2250" y="1908"/>
                  </a:cubicBezTo>
                  <a:cubicBezTo>
                    <a:pt x="2295" y="1767"/>
                    <a:pt x="2495" y="1864"/>
                    <a:pt x="2599" y="1864"/>
                  </a:cubicBezTo>
                  <a:cubicBezTo>
                    <a:pt x="2606" y="1789"/>
                    <a:pt x="2569" y="1648"/>
                    <a:pt x="2621" y="1581"/>
                  </a:cubicBezTo>
                  <a:cubicBezTo>
                    <a:pt x="2658" y="1581"/>
                    <a:pt x="2688" y="1589"/>
                    <a:pt x="2688" y="1537"/>
                  </a:cubicBezTo>
                  <a:cubicBezTo>
                    <a:pt x="2673" y="1537"/>
                    <a:pt x="2666" y="1537"/>
                    <a:pt x="2651" y="1537"/>
                  </a:cubicBezTo>
                  <a:cubicBezTo>
                    <a:pt x="2644" y="1507"/>
                    <a:pt x="2584" y="1515"/>
                    <a:pt x="2562" y="1507"/>
                  </a:cubicBezTo>
                  <a:cubicBezTo>
                    <a:pt x="2510" y="1507"/>
                    <a:pt x="2473" y="1470"/>
                    <a:pt x="2421" y="1470"/>
                  </a:cubicBezTo>
                  <a:cubicBezTo>
                    <a:pt x="2406" y="1403"/>
                    <a:pt x="2495" y="1440"/>
                    <a:pt x="2532" y="1426"/>
                  </a:cubicBezTo>
                  <a:cubicBezTo>
                    <a:pt x="2540" y="1403"/>
                    <a:pt x="2562" y="1374"/>
                    <a:pt x="2584" y="1374"/>
                  </a:cubicBezTo>
                  <a:cubicBezTo>
                    <a:pt x="2584" y="1359"/>
                    <a:pt x="2584" y="1344"/>
                    <a:pt x="2599" y="1336"/>
                  </a:cubicBezTo>
                  <a:cubicBezTo>
                    <a:pt x="2599" y="1321"/>
                    <a:pt x="2592" y="1307"/>
                    <a:pt x="2569" y="1307"/>
                  </a:cubicBezTo>
                  <a:cubicBezTo>
                    <a:pt x="2584" y="1277"/>
                    <a:pt x="2562" y="1247"/>
                    <a:pt x="2569" y="1225"/>
                  </a:cubicBezTo>
                  <a:cubicBezTo>
                    <a:pt x="2584" y="1225"/>
                    <a:pt x="2592" y="1225"/>
                    <a:pt x="2606" y="1225"/>
                  </a:cubicBezTo>
                  <a:cubicBezTo>
                    <a:pt x="2614" y="1188"/>
                    <a:pt x="2569" y="1166"/>
                    <a:pt x="2592" y="1129"/>
                  </a:cubicBezTo>
                  <a:cubicBezTo>
                    <a:pt x="2621" y="1084"/>
                    <a:pt x="2621" y="1047"/>
                    <a:pt x="2629" y="1002"/>
                  </a:cubicBezTo>
                  <a:cubicBezTo>
                    <a:pt x="2644" y="950"/>
                    <a:pt x="2614" y="965"/>
                    <a:pt x="2584" y="950"/>
                  </a:cubicBezTo>
                  <a:cubicBezTo>
                    <a:pt x="2540" y="921"/>
                    <a:pt x="2584" y="876"/>
                    <a:pt x="2614" y="883"/>
                  </a:cubicBezTo>
                  <a:cubicBezTo>
                    <a:pt x="2629" y="802"/>
                    <a:pt x="2740" y="720"/>
                    <a:pt x="2814" y="713"/>
                  </a:cubicBezTo>
                  <a:cubicBezTo>
                    <a:pt x="2829" y="675"/>
                    <a:pt x="2763" y="675"/>
                    <a:pt x="2740" y="668"/>
                  </a:cubicBezTo>
                  <a:cubicBezTo>
                    <a:pt x="2718" y="668"/>
                    <a:pt x="2695" y="675"/>
                    <a:pt x="2673" y="668"/>
                  </a:cubicBezTo>
                  <a:cubicBezTo>
                    <a:pt x="2644" y="668"/>
                    <a:pt x="2636" y="646"/>
                    <a:pt x="2606" y="638"/>
                  </a:cubicBezTo>
                  <a:cubicBezTo>
                    <a:pt x="2599" y="601"/>
                    <a:pt x="2629" y="601"/>
                    <a:pt x="2658" y="601"/>
                  </a:cubicBezTo>
                  <a:cubicBezTo>
                    <a:pt x="2666" y="557"/>
                    <a:pt x="2666" y="542"/>
                    <a:pt x="2710" y="542"/>
                  </a:cubicBezTo>
                  <a:cubicBezTo>
                    <a:pt x="2710" y="527"/>
                    <a:pt x="2710" y="505"/>
                    <a:pt x="2710" y="482"/>
                  </a:cubicBezTo>
                  <a:cubicBezTo>
                    <a:pt x="2740" y="490"/>
                    <a:pt x="2800" y="438"/>
                    <a:pt x="2807" y="408"/>
                  </a:cubicBezTo>
                  <a:cubicBezTo>
                    <a:pt x="2814" y="371"/>
                    <a:pt x="2755" y="282"/>
                    <a:pt x="2814" y="282"/>
                  </a:cubicBezTo>
                  <a:cubicBezTo>
                    <a:pt x="2822" y="267"/>
                    <a:pt x="2822" y="245"/>
                    <a:pt x="2822" y="230"/>
                  </a:cubicBezTo>
                  <a:cubicBezTo>
                    <a:pt x="2800" y="230"/>
                    <a:pt x="2807" y="178"/>
                    <a:pt x="2807" y="163"/>
                  </a:cubicBezTo>
                  <a:cubicBezTo>
                    <a:pt x="2814" y="163"/>
                    <a:pt x="2822" y="163"/>
                    <a:pt x="2829" y="163"/>
                  </a:cubicBezTo>
                  <a:cubicBezTo>
                    <a:pt x="2829" y="163"/>
                    <a:pt x="2822" y="119"/>
                    <a:pt x="2822" y="111"/>
                  </a:cubicBezTo>
                  <a:cubicBezTo>
                    <a:pt x="2822" y="111"/>
                    <a:pt x="2755" y="96"/>
                    <a:pt x="2725" y="104"/>
                  </a:cubicBezTo>
                  <a:cubicBezTo>
                    <a:pt x="2725" y="119"/>
                    <a:pt x="2718" y="148"/>
                    <a:pt x="2718" y="156"/>
                  </a:cubicBezTo>
                  <a:cubicBezTo>
                    <a:pt x="2718" y="148"/>
                    <a:pt x="2725" y="119"/>
                    <a:pt x="2725" y="104"/>
                  </a:cubicBezTo>
                  <a:cubicBezTo>
                    <a:pt x="2718" y="104"/>
                    <a:pt x="2718" y="104"/>
                    <a:pt x="2710" y="104"/>
                  </a:cubicBezTo>
                  <a:cubicBezTo>
                    <a:pt x="2651" y="200"/>
                    <a:pt x="2666" y="37"/>
                    <a:pt x="2658" y="7"/>
                  </a:cubicBezTo>
                  <a:cubicBezTo>
                    <a:pt x="2599" y="0"/>
                    <a:pt x="2614" y="14"/>
                    <a:pt x="2584" y="59"/>
                  </a:cubicBezTo>
                  <a:cubicBezTo>
                    <a:pt x="2562" y="96"/>
                    <a:pt x="2517" y="104"/>
                    <a:pt x="2495" y="141"/>
                  </a:cubicBezTo>
                  <a:cubicBezTo>
                    <a:pt x="2458" y="200"/>
                    <a:pt x="2354" y="104"/>
                    <a:pt x="2324" y="200"/>
                  </a:cubicBezTo>
                  <a:cubicBezTo>
                    <a:pt x="2339" y="200"/>
                    <a:pt x="2354" y="215"/>
                    <a:pt x="2354" y="230"/>
                  </a:cubicBezTo>
                  <a:cubicBezTo>
                    <a:pt x="2354" y="267"/>
                    <a:pt x="2354" y="267"/>
                    <a:pt x="2317" y="267"/>
                  </a:cubicBezTo>
                  <a:cubicBezTo>
                    <a:pt x="2317" y="282"/>
                    <a:pt x="2324" y="304"/>
                    <a:pt x="2317" y="312"/>
                  </a:cubicBezTo>
                  <a:cubicBezTo>
                    <a:pt x="2317" y="312"/>
                    <a:pt x="2295" y="334"/>
                    <a:pt x="2302" y="334"/>
                  </a:cubicBezTo>
                  <a:cubicBezTo>
                    <a:pt x="2265" y="349"/>
                    <a:pt x="2228" y="356"/>
                    <a:pt x="2191" y="334"/>
                  </a:cubicBezTo>
                  <a:cubicBezTo>
                    <a:pt x="2191" y="327"/>
                    <a:pt x="2191" y="319"/>
                    <a:pt x="2191" y="312"/>
                  </a:cubicBezTo>
                  <a:cubicBezTo>
                    <a:pt x="2183" y="312"/>
                    <a:pt x="2183" y="312"/>
                    <a:pt x="2183" y="312"/>
                  </a:cubicBezTo>
                  <a:cubicBezTo>
                    <a:pt x="2176" y="334"/>
                    <a:pt x="2161" y="364"/>
                    <a:pt x="2183" y="378"/>
                  </a:cubicBezTo>
                  <a:cubicBezTo>
                    <a:pt x="2213" y="401"/>
                    <a:pt x="2205" y="423"/>
                    <a:pt x="2176" y="430"/>
                  </a:cubicBezTo>
                  <a:cubicBezTo>
                    <a:pt x="2131" y="445"/>
                    <a:pt x="2124" y="534"/>
                    <a:pt x="2094" y="453"/>
                  </a:cubicBezTo>
                  <a:cubicBezTo>
                    <a:pt x="2064" y="453"/>
                    <a:pt x="2042" y="438"/>
                    <a:pt x="2012" y="438"/>
                  </a:cubicBezTo>
                  <a:cubicBezTo>
                    <a:pt x="1975" y="445"/>
                    <a:pt x="1975" y="467"/>
                    <a:pt x="1953" y="490"/>
                  </a:cubicBezTo>
                  <a:cubicBezTo>
                    <a:pt x="1938" y="505"/>
                    <a:pt x="1953" y="549"/>
                    <a:pt x="1931" y="549"/>
                  </a:cubicBezTo>
                  <a:cubicBezTo>
                    <a:pt x="1901" y="549"/>
                    <a:pt x="1879" y="534"/>
                    <a:pt x="1856" y="534"/>
                  </a:cubicBezTo>
                  <a:cubicBezTo>
                    <a:pt x="1849" y="549"/>
                    <a:pt x="1856" y="564"/>
                    <a:pt x="1864" y="579"/>
                  </a:cubicBezTo>
                  <a:cubicBezTo>
                    <a:pt x="1871" y="601"/>
                    <a:pt x="1856" y="609"/>
                    <a:pt x="1849" y="631"/>
                  </a:cubicBezTo>
                  <a:cubicBezTo>
                    <a:pt x="1849" y="661"/>
                    <a:pt x="1856" y="705"/>
                    <a:pt x="1886" y="720"/>
                  </a:cubicBezTo>
                  <a:cubicBezTo>
                    <a:pt x="1886" y="735"/>
                    <a:pt x="1871" y="742"/>
                    <a:pt x="1864" y="764"/>
                  </a:cubicBezTo>
                  <a:cubicBezTo>
                    <a:pt x="1827" y="735"/>
                    <a:pt x="1812" y="720"/>
                    <a:pt x="1760" y="720"/>
                  </a:cubicBezTo>
                  <a:cubicBezTo>
                    <a:pt x="1753" y="720"/>
                    <a:pt x="1656" y="683"/>
                    <a:pt x="1656" y="683"/>
                  </a:cubicBezTo>
                  <a:lnTo>
                    <a:pt x="1656" y="698"/>
                  </a:lnTo>
                  <a:cubicBezTo>
                    <a:pt x="1626" y="713"/>
                    <a:pt x="1582" y="698"/>
                    <a:pt x="1552" y="698"/>
                  </a:cubicBezTo>
                  <a:cubicBezTo>
                    <a:pt x="1537" y="668"/>
                    <a:pt x="1500" y="616"/>
                    <a:pt x="1470" y="616"/>
                  </a:cubicBezTo>
                  <a:cubicBezTo>
                    <a:pt x="1463" y="638"/>
                    <a:pt x="1411" y="624"/>
                    <a:pt x="1396" y="616"/>
                  </a:cubicBezTo>
                  <a:cubicBezTo>
                    <a:pt x="1374" y="586"/>
                    <a:pt x="1366" y="557"/>
                    <a:pt x="1322" y="564"/>
                  </a:cubicBezTo>
                  <a:cubicBezTo>
                    <a:pt x="1322" y="601"/>
                    <a:pt x="1307" y="638"/>
                    <a:pt x="1307" y="668"/>
                  </a:cubicBezTo>
                  <a:cubicBezTo>
                    <a:pt x="1299" y="705"/>
                    <a:pt x="1337" y="735"/>
                    <a:pt x="1329" y="772"/>
                  </a:cubicBezTo>
                  <a:cubicBezTo>
                    <a:pt x="1307" y="787"/>
                    <a:pt x="1292" y="809"/>
                    <a:pt x="1307" y="839"/>
                  </a:cubicBezTo>
                  <a:cubicBezTo>
                    <a:pt x="1322" y="869"/>
                    <a:pt x="1314" y="891"/>
                    <a:pt x="1322" y="928"/>
                  </a:cubicBezTo>
                  <a:cubicBezTo>
                    <a:pt x="1322" y="943"/>
                    <a:pt x="1322" y="995"/>
                    <a:pt x="1285" y="972"/>
                  </a:cubicBezTo>
                  <a:cubicBezTo>
                    <a:pt x="1255" y="950"/>
                    <a:pt x="1285" y="928"/>
                    <a:pt x="1233" y="935"/>
                  </a:cubicBezTo>
                  <a:cubicBezTo>
                    <a:pt x="1233" y="943"/>
                    <a:pt x="1233" y="958"/>
                    <a:pt x="1233" y="972"/>
                  </a:cubicBezTo>
                  <a:cubicBezTo>
                    <a:pt x="1166" y="980"/>
                    <a:pt x="1069" y="950"/>
                    <a:pt x="1010" y="972"/>
                  </a:cubicBezTo>
                  <a:cubicBezTo>
                    <a:pt x="1010" y="987"/>
                    <a:pt x="1025" y="1017"/>
                    <a:pt x="1002" y="1024"/>
                  </a:cubicBezTo>
                  <a:cubicBezTo>
                    <a:pt x="980" y="1032"/>
                    <a:pt x="943" y="1039"/>
                    <a:pt x="928" y="1017"/>
                  </a:cubicBezTo>
                  <a:cubicBezTo>
                    <a:pt x="891" y="965"/>
                    <a:pt x="817" y="958"/>
                    <a:pt x="757" y="958"/>
                  </a:cubicBezTo>
                  <a:cubicBezTo>
                    <a:pt x="772" y="965"/>
                    <a:pt x="765" y="1010"/>
                    <a:pt x="765" y="1024"/>
                  </a:cubicBezTo>
                  <a:cubicBezTo>
                    <a:pt x="757" y="1024"/>
                    <a:pt x="750" y="1024"/>
                    <a:pt x="735" y="1024"/>
                  </a:cubicBezTo>
                  <a:cubicBezTo>
                    <a:pt x="735" y="1069"/>
                    <a:pt x="720" y="1099"/>
                    <a:pt x="676" y="1106"/>
                  </a:cubicBezTo>
                  <a:cubicBezTo>
                    <a:pt x="654" y="1106"/>
                    <a:pt x="601" y="1114"/>
                    <a:pt x="594" y="1136"/>
                  </a:cubicBezTo>
                  <a:cubicBezTo>
                    <a:pt x="542" y="1136"/>
                    <a:pt x="512" y="1173"/>
                    <a:pt x="549" y="1210"/>
                  </a:cubicBezTo>
                  <a:cubicBezTo>
                    <a:pt x="520" y="1203"/>
                    <a:pt x="497" y="1218"/>
                    <a:pt x="460" y="1218"/>
                  </a:cubicBezTo>
                  <a:cubicBezTo>
                    <a:pt x="460" y="1195"/>
                    <a:pt x="460" y="1173"/>
                    <a:pt x="438" y="1158"/>
                  </a:cubicBezTo>
                  <a:cubicBezTo>
                    <a:pt x="416" y="1158"/>
                    <a:pt x="371" y="1151"/>
                    <a:pt x="356" y="1173"/>
                  </a:cubicBezTo>
                  <a:cubicBezTo>
                    <a:pt x="341" y="1210"/>
                    <a:pt x="371" y="1203"/>
                    <a:pt x="319" y="1210"/>
                  </a:cubicBezTo>
                  <a:cubicBezTo>
                    <a:pt x="289" y="1218"/>
                    <a:pt x="289" y="1232"/>
                    <a:pt x="289" y="1255"/>
                  </a:cubicBezTo>
                  <a:cubicBezTo>
                    <a:pt x="260" y="1262"/>
                    <a:pt x="252" y="1225"/>
                    <a:pt x="223" y="1232"/>
                  </a:cubicBezTo>
                  <a:cubicBezTo>
                    <a:pt x="223" y="1269"/>
                    <a:pt x="312" y="1329"/>
                    <a:pt x="282" y="1359"/>
                  </a:cubicBezTo>
                  <a:cubicBezTo>
                    <a:pt x="260" y="1381"/>
                    <a:pt x="245" y="1374"/>
                    <a:pt x="260" y="1411"/>
                  </a:cubicBezTo>
                  <a:cubicBezTo>
                    <a:pt x="260" y="1433"/>
                    <a:pt x="282" y="1463"/>
                    <a:pt x="297" y="1426"/>
                  </a:cubicBezTo>
                  <a:cubicBezTo>
                    <a:pt x="364" y="1418"/>
                    <a:pt x="386" y="1529"/>
                    <a:pt x="379" y="1574"/>
                  </a:cubicBezTo>
                  <a:cubicBezTo>
                    <a:pt x="341" y="1574"/>
                    <a:pt x="312" y="1566"/>
                    <a:pt x="282" y="1581"/>
                  </a:cubicBezTo>
                  <a:cubicBezTo>
                    <a:pt x="267" y="1633"/>
                    <a:pt x="319" y="1619"/>
                    <a:pt x="349" y="1633"/>
                  </a:cubicBezTo>
                  <a:cubicBezTo>
                    <a:pt x="386" y="1663"/>
                    <a:pt x="319" y="1723"/>
                    <a:pt x="289" y="1730"/>
                  </a:cubicBezTo>
                  <a:cubicBezTo>
                    <a:pt x="289" y="1745"/>
                    <a:pt x="289" y="1767"/>
                    <a:pt x="289" y="1782"/>
                  </a:cubicBezTo>
                  <a:cubicBezTo>
                    <a:pt x="260" y="1782"/>
                    <a:pt x="245" y="1767"/>
                    <a:pt x="215" y="1767"/>
                  </a:cubicBezTo>
                  <a:lnTo>
                    <a:pt x="215" y="1774"/>
                  </a:lnTo>
                  <a:cubicBezTo>
                    <a:pt x="230" y="1782"/>
                    <a:pt x="238" y="1789"/>
                    <a:pt x="238" y="1804"/>
                  </a:cubicBezTo>
                  <a:cubicBezTo>
                    <a:pt x="193" y="1797"/>
                    <a:pt x="74" y="1819"/>
                    <a:pt x="89" y="1886"/>
                  </a:cubicBezTo>
                  <a:cubicBezTo>
                    <a:pt x="104" y="1886"/>
                    <a:pt x="119" y="1886"/>
                    <a:pt x="126" y="1893"/>
                  </a:cubicBezTo>
                  <a:cubicBezTo>
                    <a:pt x="149" y="1893"/>
                    <a:pt x="178" y="1886"/>
                    <a:pt x="186" y="1886"/>
                  </a:cubicBezTo>
                  <a:cubicBezTo>
                    <a:pt x="178" y="1886"/>
                    <a:pt x="149" y="1893"/>
                    <a:pt x="126" y="1893"/>
                  </a:cubicBezTo>
                  <a:cubicBezTo>
                    <a:pt x="149" y="1893"/>
                    <a:pt x="163" y="1901"/>
                    <a:pt x="186" y="1923"/>
                  </a:cubicBezTo>
                  <a:cubicBezTo>
                    <a:pt x="200" y="1938"/>
                    <a:pt x="238" y="1982"/>
                    <a:pt x="200" y="1997"/>
                  </a:cubicBezTo>
                  <a:cubicBezTo>
                    <a:pt x="215" y="2027"/>
                    <a:pt x="186" y="2071"/>
                    <a:pt x="186" y="2094"/>
                  </a:cubicBezTo>
                  <a:cubicBezTo>
                    <a:pt x="223" y="2109"/>
                    <a:pt x="245" y="2131"/>
                    <a:pt x="238" y="2168"/>
                  </a:cubicBezTo>
                  <a:cubicBezTo>
                    <a:pt x="223" y="2168"/>
                    <a:pt x="223" y="2168"/>
                    <a:pt x="215" y="2183"/>
                  </a:cubicBezTo>
                  <a:cubicBezTo>
                    <a:pt x="215" y="2198"/>
                    <a:pt x="178" y="2198"/>
                    <a:pt x="163" y="2198"/>
                  </a:cubicBezTo>
                  <a:cubicBezTo>
                    <a:pt x="163" y="2235"/>
                    <a:pt x="215" y="2213"/>
                    <a:pt x="200" y="2257"/>
                  </a:cubicBezTo>
                  <a:cubicBezTo>
                    <a:pt x="200" y="2257"/>
                    <a:pt x="200" y="2257"/>
                    <a:pt x="193" y="2257"/>
                  </a:cubicBezTo>
                  <a:cubicBezTo>
                    <a:pt x="193" y="2287"/>
                    <a:pt x="208" y="2331"/>
                    <a:pt x="178" y="2354"/>
                  </a:cubicBezTo>
                  <a:cubicBezTo>
                    <a:pt x="156" y="2368"/>
                    <a:pt x="163" y="2383"/>
                    <a:pt x="156" y="2406"/>
                  </a:cubicBezTo>
                  <a:cubicBezTo>
                    <a:pt x="134" y="2413"/>
                    <a:pt x="119" y="2383"/>
                    <a:pt x="96" y="2383"/>
                  </a:cubicBezTo>
                  <a:cubicBezTo>
                    <a:pt x="96" y="2391"/>
                    <a:pt x="96" y="2406"/>
                    <a:pt x="96" y="2413"/>
                  </a:cubicBezTo>
                  <a:lnTo>
                    <a:pt x="89" y="2413"/>
                  </a:lnTo>
                  <a:lnTo>
                    <a:pt x="96" y="2421"/>
                  </a:lnTo>
                  <a:cubicBezTo>
                    <a:pt x="67" y="2428"/>
                    <a:pt x="0" y="2406"/>
                    <a:pt x="15" y="2450"/>
                  </a:cubicBezTo>
                  <a:cubicBezTo>
                    <a:pt x="44" y="2458"/>
                    <a:pt x="37" y="2480"/>
                    <a:pt x="52" y="2487"/>
                  </a:cubicBezTo>
                  <a:cubicBezTo>
                    <a:pt x="67" y="2495"/>
                    <a:pt x="89" y="2480"/>
                    <a:pt x="104" y="2487"/>
                  </a:cubicBezTo>
                  <a:cubicBezTo>
                    <a:pt x="119" y="2495"/>
                    <a:pt x="119" y="2517"/>
                    <a:pt x="134" y="2525"/>
                  </a:cubicBezTo>
                  <a:cubicBezTo>
                    <a:pt x="149" y="2532"/>
                    <a:pt x="171" y="2517"/>
                    <a:pt x="178" y="2532"/>
                  </a:cubicBezTo>
                  <a:cubicBezTo>
                    <a:pt x="186" y="2547"/>
                    <a:pt x="178" y="2576"/>
                    <a:pt x="186" y="2591"/>
                  </a:cubicBezTo>
                  <a:cubicBezTo>
                    <a:pt x="193" y="2606"/>
                    <a:pt x="200" y="2606"/>
                    <a:pt x="208" y="2628"/>
                  </a:cubicBezTo>
                  <a:cubicBezTo>
                    <a:pt x="215" y="2666"/>
                    <a:pt x="208" y="2695"/>
                    <a:pt x="260" y="2688"/>
                  </a:cubicBezTo>
                  <a:cubicBezTo>
                    <a:pt x="267" y="2710"/>
                    <a:pt x="245" y="2710"/>
                    <a:pt x="238" y="2725"/>
                  </a:cubicBezTo>
                  <a:cubicBezTo>
                    <a:pt x="238" y="2740"/>
                    <a:pt x="245" y="2762"/>
                    <a:pt x="252" y="2777"/>
                  </a:cubicBezTo>
                  <a:cubicBezTo>
                    <a:pt x="260" y="2792"/>
                    <a:pt x="260" y="2799"/>
                    <a:pt x="267" y="2814"/>
                  </a:cubicBezTo>
                  <a:cubicBezTo>
                    <a:pt x="275" y="2829"/>
                    <a:pt x="297" y="2822"/>
                    <a:pt x="282" y="2851"/>
                  </a:cubicBezTo>
                  <a:cubicBezTo>
                    <a:pt x="282" y="2851"/>
                    <a:pt x="282" y="2851"/>
                    <a:pt x="275" y="2851"/>
                  </a:cubicBezTo>
                  <a:cubicBezTo>
                    <a:pt x="275" y="2859"/>
                    <a:pt x="275" y="2866"/>
                    <a:pt x="275" y="2866"/>
                  </a:cubicBezTo>
                  <a:cubicBezTo>
                    <a:pt x="327" y="2873"/>
                    <a:pt x="289" y="2963"/>
                    <a:pt x="275" y="2978"/>
                  </a:cubicBezTo>
                  <a:cubicBezTo>
                    <a:pt x="304" y="3000"/>
                    <a:pt x="356" y="3059"/>
                    <a:pt x="371" y="3096"/>
                  </a:cubicBezTo>
                  <a:cubicBezTo>
                    <a:pt x="379" y="3111"/>
                    <a:pt x="379" y="3126"/>
                    <a:pt x="386" y="3141"/>
                  </a:cubicBezTo>
                  <a:cubicBezTo>
                    <a:pt x="386" y="3156"/>
                    <a:pt x="394" y="3156"/>
                    <a:pt x="394" y="3170"/>
                  </a:cubicBezTo>
                  <a:cubicBezTo>
                    <a:pt x="401" y="3200"/>
                    <a:pt x="394" y="3230"/>
                    <a:pt x="394" y="3252"/>
                  </a:cubicBezTo>
                  <a:cubicBezTo>
                    <a:pt x="416" y="3252"/>
                    <a:pt x="453" y="3252"/>
                    <a:pt x="446" y="3282"/>
                  </a:cubicBezTo>
                  <a:cubicBezTo>
                    <a:pt x="379" y="3304"/>
                    <a:pt x="423" y="3327"/>
                    <a:pt x="431" y="3371"/>
                  </a:cubicBezTo>
                  <a:cubicBezTo>
                    <a:pt x="438" y="3416"/>
                    <a:pt x="438" y="3445"/>
                    <a:pt x="431" y="3482"/>
                  </a:cubicBezTo>
                  <a:cubicBezTo>
                    <a:pt x="423" y="3490"/>
                    <a:pt x="379" y="3497"/>
                    <a:pt x="379" y="3505"/>
                  </a:cubicBezTo>
                  <a:cubicBezTo>
                    <a:pt x="379" y="3520"/>
                    <a:pt x="401" y="3527"/>
                    <a:pt x="416" y="3535"/>
                  </a:cubicBezTo>
                  <a:cubicBezTo>
                    <a:pt x="438" y="3549"/>
                    <a:pt x="431" y="3542"/>
                    <a:pt x="438" y="3572"/>
                  </a:cubicBezTo>
                  <a:cubicBezTo>
                    <a:pt x="446" y="3594"/>
                    <a:pt x="453" y="3609"/>
                    <a:pt x="460" y="3631"/>
                  </a:cubicBezTo>
                  <a:cubicBezTo>
                    <a:pt x="468" y="3646"/>
                    <a:pt x="475" y="3661"/>
                    <a:pt x="475" y="3683"/>
                  </a:cubicBezTo>
                  <a:cubicBezTo>
                    <a:pt x="475" y="3705"/>
                    <a:pt x="475" y="3727"/>
                    <a:pt x="468" y="3750"/>
                  </a:cubicBezTo>
                  <a:cubicBezTo>
                    <a:pt x="468" y="3765"/>
                    <a:pt x="468" y="3787"/>
                    <a:pt x="475" y="3809"/>
                  </a:cubicBezTo>
                  <a:cubicBezTo>
                    <a:pt x="483" y="3824"/>
                    <a:pt x="497" y="3824"/>
                    <a:pt x="520" y="3839"/>
                  </a:cubicBezTo>
                  <a:cubicBezTo>
                    <a:pt x="475" y="3861"/>
                    <a:pt x="520" y="3913"/>
                    <a:pt x="535" y="3950"/>
                  </a:cubicBezTo>
                  <a:cubicBezTo>
                    <a:pt x="549" y="3995"/>
                    <a:pt x="549" y="4047"/>
                    <a:pt x="572" y="4091"/>
                  </a:cubicBezTo>
                  <a:cubicBezTo>
                    <a:pt x="601" y="4106"/>
                    <a:pt x="616" y="4114"/>
                    <a:pt x="616" y="4114"/>
                  </a:cubicBezTo>
                </a:path>
              </a:pathLst>
            </a:custGeom>
            <a:grpFill/>
            <a:ln w="6350" cap="flat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lIns="60927" tIns="30463" rIns="60927" bIns="30463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4" name="Freeform 6"/>
            <p:cNvSpPr>
              <a:spLocks noChangeArrowheads="1"/>
            </p:cNvSpPr>
            <p:nvPr/>
          </p:nvSpPr>
          <p:spPr bwMode="auto">
            <a:xfrm>
              <a:off x="10021232" y="4925927"/>
              <a:ext cx="890272" cy="1074476"/>
            </a:xfrm>
            <a:custGeom>
              <a:avLst/>
              <a:gdLst>
                <a:gd name="T0" fmla="*/ 1931 w 2058"/>
                <a:gd name="T1" fmla="*/ 2250 h 2489"/>
                <a:gd name="T2" fmla="*/ 1916 w 2058"/>
                <a:gd name="T3" fmla="*/ 2191 h 2489"/>
                <a:gd name="T4" fmla="*/ 1886 w 2058"/>
                <a:gd name="T5" fmla="*/ 2050 h 2489"/>
                <a:gd name="T6" fmla="*/ 1767 w 2058"/>
                <a:gd name="T7" fmla="*/ 1812 h 2489"/>
                <a:gd name="T8" fmla="*/ 1730 w 2058"/>
                <a:gd name="T9" fmla="*/ 1812 h 2489"/>
                <a:gd name="T10" fmla="*/ 1686 w 2058"/>
                <a:gd name="T11" fmla="*/ 1849 h 2489"/>
                <a:gd name="T12" fmla="*/ 1663 w 2058"/>
                <a:gd name="T13" fmla="*/ 1812 h 2489"/>
                <a:gd name="T14" fmla="*/ 1649 w 2058"/>
                <a:gd name="T15" fmla="*/ 1790 h 2489"/>
                <a:gd name="T16" fmla="*/ 1612 w 2058"/>
                <a:gd name="T17" fmla="*/ 1782 h 2489"/>
                <a:gd name="T18" fmla="*/ 1567 w 2058"/>
                <a:gd name="T19" fmla="*/ 1790 h 2489"/>
                <a:gd name="T20" fmla="*/ 1530 w 2058"/>
                <a:gd name="T21" fmla="*/ 1768 h 2489"/>
                <a:gd name="T22" fmla="*/ 1544 w 2058"/>
                <a:gd name="T23" fmla="*/ 1716 h 2489"/>
                <a:gd name="T24" fmla="*/ 1582 w 2058"/>
                <a:gd name="T25" fmla="*/ 1693 h 2489"/>
                <a:gd name="T26" fmla="*/ 1582 w 2058"/>
                <a:gd name="T27" fmla="*/ 1649 h 2489"/>
                <a:gd name="T28" fmla="*/ 1619 w 2058"/>
                <a:gd name="T29" fmla="*/ 1597 h 2489"/>
                <a:gd name="T30" fmla="*/ 1671 w 2058"/>
                <a:gd name="T31" fmla="*/ 1582 h 2489"/>
                <a:gd name="T32" fmla="*/ 1686 w 2058"/>
                <a:gd name="T33" fmla="*/ 1003 h 2489"/>
                <a:gd name="T34" fmla="*/ 1760 w 2058"/>
                <a:gd name="T35" fmla="*/ 869 h 2489"/>
                <a:gd name="T36" fmla="*/ 1894 w 2058"/>
                <a:gd name="T37" fmla="*/ 706 h 2489"/>
                <a:gd name="T38" fmla="*/ 2027 w 2058"/>
                <a:gd name="T39" fmla="*/ 438 h 2489"/>
                <a:gd name="T40" fmla="*/ 2027 w 2058"/>
                <a:gd name="T41" fmla="*/ 431 h 2489"/>
                <a:gd name="T42" fmla="*/ 1782 w 2058"/>
                <a:gd name="T43" fmla="*/ 327 h 2489"/>
                <a:gd name="T44" fmla="*/ 1641 w 2058"/>
                <a:gd name="T45" fmla="*/ 60 h 2489"/>
                <a:gd name="T46" fmla="*/ 1604 w 2058"/>
                <a:gd name="T47" fmla="*/ 208 h 2489"/>
                <a:gd name="T48" fmla="*/ 1559 w 2058"/>
                <a:gd name="T49" fmla="*/ 349 h 2489"/>
                <a:gd name="T50" fmla="*/ 1493 w 2058"/>
                <a:gd name="T51" fmla="*/ 372 h 2489"/>
                <a:gd name="T52" fmla="*/ 1389 w 2058"/>
                <a:gd name="T53" fmla="*/ 475 h 2489"/>
                <a:gd name="T54" fmla="*/ 1389 w 2058"/>
                <a:gd name="T55" fmla="*/ 580 h 2489"/>
                <a:gd name="T56" fmla="*/ 1285 w 2058"/>
                <a:gd name="T57" fmla="*/ 550 h 2489"/>
                <a:gd name="T58" fmla="*/ 1144 w 2058"/>
                <a:gd name="T59" fmla="*/ 676 h 2489"/>
                <a:gd name="T60" fmla="*/ 1114 w 2058"/>
                <a:gd name="T61" fmla="*/ 795 h 2489"/>
                <a:gd name="T62" fmla="*/ 1069 w 2058"/>
                <a:gd name="T63" fmla="*/ 832 h 2489"/>
                <a:gd name="T64" fmla="*/ 817 w 2058"/>
                <a:gd name="T65" fmla="*/ 825 h 2489"/>
                <a:gd name="T66" fmla="*/ 550 w 2058"/>
                <a:gd name="T67" fmla="*/ 936 h 2489"/>
                <a:gd name="T68" fmla="*/ 445 w 2058"/>
                <a:gd name="T69" fmla="*/ 891 h 2489"/>
                <a:gd name="T70" fmla="*/ 468 w 2058"/>
                <a:gd name="T71" fmla="*/ 780 h 2489"/>
                <a:gd name="T72" fmla="*/ 171 w 2058"/>
                <a:gd name="T73" fmla="*/ 617 h 2489"/>
                <a:gd name="T74" fmla="*/ 0 w 2058"/>
                <a:gd name="T75" fmla="*/ 617 h 2489"/>
                <a:gd name="T76" fmla="*/ 67 w 2058"/>
                <a:gd name="T77" fmla="*/ 706 h 2489"/>
                <a:gd name="T78" fmla="*/ 89 w 2058"/>
                <a:gd name="T79" fmla="*/ 847 h 2489"/>
                <a:gd name="T80" fmla="*/ 0 w 2058"/>
                <a:gd name="T81" fmla="*/ 1047 h 2489"/>
                <a:gd name="T82" fmla="*/ 186 w 2058"/>
                <a:gd name="T83" fmla="*/ 1129 h 2489"/>
                <a:gd name="T84" fmla="*/ 342 w 2058"/>
                <a:gd name="T85" fmla="*/ 1188 h 2489"/>
                <a:gd name="T86" fmla="*/ 587 w 2058"/>
                <a:gd name="T87" fmla="*/ 1322 h 2489"/>
                <a:gd name="T88" fmla="*/ 653 w 2058"/>
                <a:gd name="T89" fmla="*/ 1679 h 2489"/>
                <a:gd name="T90" fmla="*/ 847 w 2058"/>
                <a:gd name="T91" fmla="*/ 1901 h 2489"/>
                <a:gd name="T92" fmla="*/ 995 w 2058"/>
                <a:gd name="T93" fmla="*/ 2302 h 2489"/>
                <a:gd name="T94" fmla="*/ 1151 w 2058"/>
                <a:gd name="T95" fmla="*/ 2184 h 2489"/>
                <a:gd name="T96" fmla="*/ 1114 w 2058"/>
                <a:gd name="T97" fmla="*/ 2065 h 2489"/>
                <a:gd name="T98" fmla="*/ 1448 w 2058"/>
                <a:gd name="T99" fmla="*/ 2124 h 2489"/>
                <a:gd name="T100" fmla="*/ 1559 w 2058"/>
                <a:gd name="T101" fmla="*/ 2139 h 2489"/>
                <a:gd name="T102" fmla="*/ 1619 w 2058"/>
                <a:gd name="T103" fmla="*/ 2421 h 2489"/>
                <a:gd name="T104" fmla="*/ 1842 w 2058"/>
                <a:gd name="T105" fmla="*/ 2287 h 2489"/>
                <a:gd name="T106" fmla="*/ 1842 w 2058"/>
                <a:gd name="T107" fmla="*/ 2287 h 24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058" h="2489">
                  <a:moveTo>
                    <a:pt x="1923" y="2280"/>
                  </a:moveTo>
                  <a:lnTo>
                    <a:pt x="1923" y="2280"/>
                  </a:lnTo>
                  <a:cubicBezTo>
                    <a:pt x="1923" y="2273"/>
                    <a:pt x="1931" y="2258"/>
                    <a:pt x="1931" y="2250"/>
                  </a:cubicBezTo>
                  <a:cubicBezTo>
                    <a:pt x="1923" y="2243"/>
                    <a:pt x="1923" y="2243"/>
                    <a:pt x="1923" y="2236"/>
                  </a:cubicBezTo>
                  <a:cubicBezTo>
                    <a:pt x="1916" y="2228"/>
                    <a:pt x="1916" y="2213"/>
                    <a:pt x="1916" y="2198"/>
                  </a:cubicBezTo>
                  <a:lnTo>
                    <a:pt x="1916" y="2191"/>
                  </a:lnTo>
                  <a:cubicBezTo>
                    <a:pt x="1916" y="2147"/>
                    <a:pt x="1916" y="2109"/>
                    <a:pt x="1894" y="2065"/>
                  </a:cubicBezTo>
                  <a:lnTo>
                    <a:pt x="1894" y="2057"/>
                  </a:lnTo>
                  <a:cubicBezTo>
                    <a:pt x="1886" y="2057"/>
                    <a:pt x="1886" y="2050"/>
                    <a:pt x="1886" y="2050"/>
                  </a:cubicBezTo>
                  <a:cubicBezTo>
                    <a:pt x="1871" y="2005"/>
                    <a:pt x="1849" y="1968"/>
                    <a:pt x="1819" y="1939"/>
                  </a:cubicBezTo>
                  <a:cubicBezTo>
                    <a:pt x="1790" y="1901"/>
                    <a:pt x="1790" y="1879"/>
                    <a:pt x="1782" y="1834"/>
                  </a:cubicBezTo>
                  <a:cubicBezTo>
                    <a:pt x="1782" y="1834"/>
                    <a:pt x="1775" y="1820"/>
                    <a:pt x="1767" y="1812"/>
                  </a:cubicBezTo>
                  <a:lnTo>
                    <a:pt x="1767" y="1812"/>
                  </a:lnTo>
                  <a:cubicBezTo>
                    <a:pt x="1760" y="1820"/>
                    <a:pt x="1760" y="1812"/>
                    <a:pt x="1752" y="1805"/>
                  </a:cubicBezTo>
                  <a:cubicBezTo>
                    <a:pt x="1745" y="1805"/>
                    <a:pt x="1738" y="1812"/>
                    <a:pt x="1730" y="1812"/>
                  </a:cubicBezTo>
                  <a:cubicBezTo>
                    <a:pt x="1715" y="1827"/>
                    <a:pt x="1730" y="1827"/>
                    <a:pt x="1730" y="1842"/>
                  </a:cubicBezTo>
                  <a:cubicBezTo>
                    <a:pt x="1723" y="1849"/>
                    <a:pt x="1700" y="1864"/>
                    <a:pt x="1686" y="1857"/>
                  </a:cubicBezTo>
                  <a:cubicBezTo>
                    <a:pt x="1686" y="1857"/>
                    <a:pt x="1686" y="1857"/>
                    <a:pt x="1686" y="1849"/>
                  </a:cubicBezTo>
                  <a:cubicBezTo>
                    <a:pt x="1678" y="1849"/>
                    <a:pt x="1678" y="1849"/>
                    <a:pt x="1678" y="1842"/>
                  </a:cubicBezTo>
                  <a:cubicBezTo>
                    <a:pt x="1678" y="1834"/>
                    <a:pt x="1663" y="1834"/>
                    <a:pt x="1663" y="1827"/>
                  </a:cubicBezTo>
                  <a:cubicBezTo>
                    <a:pt x="1656" y="1827"/>
                    <a:pt x="1656" y="1820"/>
                    <a:pt x="1663" y="1812"/>
                  </a:cubicBezTo>
                  <a:cubicBezTo>
                    <a:pt x="1663" y="1805"/>
                    <a:pt x="1663" y="1805"/>
                    <a:pt x="1663" y="1797"/>
                  </a:cubicBezTo>
                  <a:cubicBezTo>
                    <a:pt x="1663" y="1797"/>
                    <a:pt x="1656" y="1797"/>
                    <a:pt x="1649" y="1797"/>
                  </a:cubicBezTo>
                  <a:lnTo>
                    <a:pt x="1649" y="1790"/>
                  </a:lnTo>
                  <a:cubicBezTo>
                    <a:pt x="1641" y="1790"/>
                    <a:pt x="1641" y="1790"/>
                    <a:pt x="1634" y="1790"/>
                  </a:cubicBezTo>
                  <a:cubicBezTo>
                    <a:pt x="1626" y="1790"/>
                    <a:pt x="1619" y="1782"/>
                    <a:pt x="1619" y="1775"/>
                  </a:cubicBezTo>
                  <a:cubicBezTo>
                    <a:pt x="1612" y="1768"/>
                    <a:pt x="1597" y="1775"/>
                    <a:pt x="1612" y="1782"/>
                  </a:cubicBezTo>
                  <a:cubicBezTo>
                    <a:pt x="1612" y="1782"/>
                    <a:pt x="1612" y="1782"/>
                    <a:pt x="1604" y="1782"/>
                  </a:cubicBezTo>
                  <a:cubicBezTo>
                    <a:pt x="1597" y="1790"/>
                    <a:pt x="1597" y="1782"/>
                    <a:pt x="1589" y="1782"/>
                  </a:cubicBezTo>
                  <a:cubicBezTo>
                    <a:pt x="1582" y="1790"/>
                    <a:pt x="1582" y="1790"/>
                    <a:pt x="1567" y="1790"/>
                  </a:cubicBezTo>
                  <a:cubicBezTo>
                    <a:pt x="1559" y="1790"/>
                    <a:pt x="1552" y="1790"/>
                    <a:pt x="1544" y="1790"/>
                  </a:cubicBezTo>
                  <a:cubicBezTo>
                    <a:pt x="1537" y="1797"/>
                    <a:pt x="1537" y="1790"/>
                    <a:pt x="1544" y="1782"/>
                  </a:cubicBezTo>
                  <a:cubicBezTo>
                    <a:pt x="1544" y="1782"/>
                    <a:pt x="1537" y="1768"/>
                    <a:pt x="1530" y="1768"/>
                  </a:cubicBezTo>
                  <a:cubicBezTo>
                    <a:pt x="1522" y="1768"/>
                    <a:pt x="1522" y="1760"/>
                    <a:pt x="1522" y="1753"/>
                  </a:cubicBezTo>
                  <a:cubicBezTo>
                    <a:pt x="1522" y="1738"/>
                    <a:pt x="1530" y="1745"/>
                    <a:pt x="1537" y="1738"/>
                  </a:cubicBezTo>
                  <a:cubicBezTo>
                    <a:pt x="1537" y="1731"/>
                    <a:pt x="1537" y="1723"/>
                    <a:pt x="1544" y="1716"/>
                  </a:cubicBezTo>
                  <a:cubicBezTo>
                    <a:pt x="1544" y="1716"/>
                    <a:pt x="1552" y="1716"/>
                    <a:pt x="1559" y="1716"/>
                  </a:cubicBezTo>
                  <a:cubicBezTo>
                    <a:pt x="1567" y="1708"/>
                    <a:pt x="1559" y="1708"/>
                    <a:pt x="1567" y="1701"/>
                  </a:cubicBezTo>
                  <a:cubicBezTo>
                    <a:pt x="1567" y="1693"/>
                    <a:pt x="1574" y="1693"/>
                    <a:pt x="1582" y="1693"/>
                  </a:cubicBezTo>
                  <a:lnTo>
                    <a:pt x="1582" y="1679"/>
                  </a:lnTo>
                  <a:cubicBezTo>
                    <a:pt x="1589" y="1671"/>
                    <a:pt x="1582" y="1671"/>
                    <a:pt x="1582" y="1671"/>
                  </a:cubicBezTo>
                  <a:cubicBezTo>
                    <a:pt x="1574" y="1664"/>
                    <a:pt x="1589" y="1656"/>
                    <a:pt x="1582" y="1649"/>
                  </a:cubicBezTo>
                  <a:cubicBezTo>
                    <a:pt x="1574" y="1642"/>
                    <a:pt x="1574" y="1619"/>
                    <a:pt x="1574" y="1612"/>
                  </a:cubicBezTo>
                  <a:cubicBezTo>
                    <a:pt x="1582" y="1604"/>
                    <a:pt x="1589" y="1597"/>
                    <a:pt x="1597" y="1590"/>
                  </a:cubicBezTo>
                  <a:cubicBezTo>
                    <a:pt x="1604" y="1590"/>
                    <a:pt x="1612" y="1597"/>
                    <a:pt x="1619" y="1597"/>
                  </a:cubicBezTo>
                  <a:cubicBezTo>
                    <a:pt x="1626" y="1590"/>
                    <a:pt x="1626" y="1582"/>
                    <a:pt x="1634" y="1575"/>
                  </a:cubicBezTo>
                  <a:cubicBezTo>
                    <a:pt x="1641" y="1567"/>
                    <a:pt x="1656" y="1575"/>
                    <a:pt x="1671" y="1575"/>
                  </a:cubicBezTo>
                  <a:cubicBezTo>
                    <a:pt x="1671" y="1582"/>
                    <a:pt x="1671" y="1582"/>
                    <a:pt x="1671" y="1582"/>
                  </a:cubicBezTo>
                  <a:lnTo>
                    <a:pt x="1678" y="1582"/>
                  </a:lnTo>
                  <a:cubicBezTo>
                    <a:pt x="1678" y="1485"/>
                    <a:pt x="1678" y="1330"/>
                    <a:pt x="1656" y="1255"/>
                  </a:cubicBezTo>
                  <a:cubicBezTo>
                    <a:pt x="1634" y="1181"/>
                    <a:pt x="1656" y="1077"/>
                    <a:pt x="1686" y="1003"/>
                  </a:cubicBezTo>
                  <a:lnTo>
                    <a:pt x="1693" y="1003"/>
                  </a:lnTo>
                  <a:cubicBezTo>
                    <a:pt x="1708" y="980"/>
                    <a:pt x="1708" y="951"/>
                    <a:pt x="1730" y="929"/>
                  </a:cubicBezTo>
                  <a:cubicBezTo>
                    <a:pt x="1745" y="914"/>
                    <a:pt x="1760" y="899"/>
                    <a:pt x="1760" y="869"/>
                  </a:cubicBezTo>
                  <a:cubicBezTo>
                    <a:pt x="1760" y="832"/>
                    <a:pt x="1752" y="773"/>
                    <a:pt x="1812" y="773"/>
                  </a:cubicBezTo>
                  <a:cubicBezTo>
                    <a:pt x="1819" y="750"/>
                    <a:pt x="1834" y="750"/>
                    <a:pt x="1834" y="728"/>
                  </a:cubicBezTo>
                  <a:cubicBezTo>
                    <a:pt x="1842" y="698"/>
                    <a:pt x="1871" y="706"/>
                    <a:pt x="1894" y="706"/>
                  </a:cubicBezTo>
                  <a:cubicBezTo>
                    <a:pt x="1901" y="624"/>
                    <a:pt x="1990" y="580"/>
                    <a:pt x="2020" y="505"/>
                  </a:cubicBezTo>
                  <a:cubicBezTo>
                    <a:pt x="2027" y="505"/>
                    <a:pt x="2042" y="490"/>
                    <a:pt x="2057" y="475"/>
                  </a:cubicBezTo>
                  <a:cubicBezTo>
                    <a:pt x="2042" y="468"/>
                    <a:pt x="2035" y="453"/>
                    <a:pt x="2027" y="438"/>
                  </a:cubicBezTo>
                  <a:cubicBezTo>
                    <a:pt x="2020" y="446"/>
                    <a:pt x="2012" y="446"/>
                    <a:pt x="2005" y="446"/>
                  </a:cubicBezTo>
                  <a:cubicBezTo>
                    <a:pt x="2012" y="446"/>
                    <a:pt x="2020" y="446"/>
                    <a:pt x="2027" y="438"/>
                  </a:cubicBezTo>
                  <a:lnTo>
                    <a:pt x="2027" y="431"/>
                  </a:lnTo>
                  <a:cubicBezTo>
                    <a:pt x="2005" y="446"/>
                    <a:pt x="1990" y="453"/>
                    <a:pt x="1990" y="401"/>
                  </a:cubicBezTo>
                  <a:cubicBezTo>
                    <a:pt x="1953" y="401"/>
                    <a:pt x="1916" y="409"/>
                    <a:pt x="1894" y="372"/>
                  </a:cubicBezTo>
                  <a:cubicBezTo>
                    <a:pt x="1864" y="335"/>
                    <a:pt x="1827" y="327"/>
                    <a:pt x="1782" y="327"/>
                  </a:cubicBezTo>
                  <a:cubicBezTo>
                    <a:pt x="1782" y="283"/>
                    <a:pt x="1790" y="245"/>
                    <a:pt x="1782" y="208"/>
                  </a:cubicBezTo>
                  <a:cubicBezTo>
                    <a:pt x="1782" y="178"/>
                    <a:pt x="1738" y="156"/>
                    <a:pt x="1715" y="141"/>
                  </a:cubicBezTo>
                  <a:cubicBezTo>
                    <a:pt x="1686" y="112"/>
                    <a:pt x="1663" y="82"/>
                    <a:pt x="1641" y="60"/>
                  </a:cubicBezTo>
                  <a:cubicBezTo>
                    <a:pt x="1626" y="45"/>
                    <a:pt x="1612" y="23"/>
                    <a:pt x="1604" y="0"/>
                  </a:cubicBezTo>
                  <a:cubicBezTo>
                    <a:pt x="1597" y="38"/>
                    <a:pt x="1574" y="104"/>
                    <a:pt x="1544" y="127"/>
                  </a:cubicBezTo>
                  <a:cubicBezTo>
                    <a:pt x="1559" y="164"/>
                    <a:pt x="1574" y="193"/>
                    <a:pt x="1604" y="208"/>
                  </a:cubicBezTo>
                  <a:cubicBezTo>
                    <a:pt x="1626" y="230"/>
                    <a:pt x="1612" y="260"/>
                    <a:pt x="1612" y="290"/>
                  </a:cubicBezTo>
                  <a:cubicBezTo>
                    <a:pt x="1612" y="305"/>
                    <a:pt x="1619" y="409"/>
                    <a:pt x="1597" y="409"/>
                  </a:cubicBezTo>
                  <a:cubicBezTo>
                    <a:pt x="1582" y="386"/>
                    <a:pt x="1582" y="357"/>
                    <a:pt x="1559" y="349"/>
                  </a:cubicBezTo>
                  <a:cubicBezTo>
                    <a:pt x="1544" y="349"/>
                    <a:pt x="1522" y="342"/>
                    <a:pt x="1522" y="327"/>
                  </a:cubicBezTo>
                  <a:cubicBezTo>
                    <a:pt x="1507" y="320"/>
                    <a:pt x="1485" y="320"/>
                    <a:pt x="1478" y="335"/>
                  </a:cubicBezTo>
                  <a:cubicBezTo>
                    <a:pt x="1470" y="357"/>
                    <a:pt x="1470" y="372"/>
                    <a:pt x="1493" y="372"/>
                  </a:cubicBezTo>
                  <a:cubicBezTo>
                    <a:pt x="1500" y="394"/>
                    <a:pt x="1493" y="409"/>
                    <a:pt x="1493" y="431"/>
                  </a:cubicBezTo>
                  <a:cubicBezTo>
                    <a:pt x="1470" y="431"/>
                    <a:pt x="1448" y="431"/>
                    <a:pt x="1433" y="446"/>
                  </a:cubicBezTo>
                  <a:cubicBezTo>
                    <a:pt x="1418" y="453"/>
                    <a:pt x="1411" y="475"/>
                    <a:pt x="1389" y="475"/>
                  </a:cubicBezTo>
                  <a:cubicBezTo>
                    <a:pt x="1389" y="475"/>
                    <a:pt x="1389" y="483"/>
                    <a:pt x="1389" y="490"/>
                  </a:cubicBezTo>
                  <a:cubicBezTo>
                    <a:pt x="1418" y="490"/>
                    <a:pt x="1433" y="498"/>
                    <a:pt x="1433" y="528"/>
                  </a:cubicBezTo>
                  <a:cubicBezTo>
                    <a:pt x="1433" y="565"/>
                    <a:pt x="1418" y="557"/>
                    <a:pt x="1389" y="580"/>
                  </a:cubicBezTo>
                  <a:cubicBezTo>
                    <a:pt x="1381" y="587"/>
                    <a:pt x="1366" y="624"/>
                    <a:pt x="1344" y="594"/>
                  </a:cubicBezTo>
                  <a:cubicBezTo>
                    <a:pt x="1337" y="580"/>
                    <a:pt x="1337" y="557"/>
                    <a:pt x="1329" y="542"/>
                  </a:cubicBezTo>
                  <a:cubicBezTo>
                    <a:pt x="1322" y="498"/>
                    <a:pt x="1285" y="505"/>
                    <a:pt x="1285" y="550"/>
                  </a:cubicBezTo>
                  <a:cubicBezTo>
                    <a:pt x="1277" y="587"/>
                    <a:pt x="1196" y="542"/>
                    <a:pt x="1173" y="535"/>
                  </a:cubicBezTo>
                  <a:cubicBezTo>
                    <a:pt x="1166" y="565"/>
                    <a:pt x="1173" y="602"/>
                    <a:pt x="1158" y="632"/>
                  </a:cubicBezTo>
                  <a:cubicBezTo>
                    <a:pt x="1158" y="646"/>
                    <a:pt x="1151" y="661"/>
                    <a:pt x="1144" y="676"/>
                  </a:cubicBezTo>
                  <a:cubicBezTo>
                    <a:pt x="1144" y="698"/>
                    <a:pt x="1136" y="758"/>
                    <a:pt x="1173" y="750"/>
                  </a:cubicBezTo>
                  <a:cubicBezTo>
                    <a:pt x="1173" y="765"/>
                    <a:pt x="1158" y="773"/>
                    <a:pt x="1151" y="787"/>
                  </a:cubicBezTo>
                  <a:cubicBezTo>
                    <a:pt x="1144" y="795"/>
                    <a:pt x="1121" y="787"/>
                    <a:pt x="1114" y="795"/>
                  </a:cubicBezTo>
                  <a:cubicBezTo>
                    <a:pt x="1099" y="802"/>
                    <a:pt x="1107" y="817"/>
                    <a:pt x="1092" y="825"/>
                  </a:cubicBezTo>
                  <a:cubicBezTo>
                    <a:pt x="1092" y="817"/>
                    <a:pt x="1084" y="817"/>
                    <a:pt x="1077" y="810"/>
                  </a:cubicBezTo>
                  <a:cubicBezTo>
                    <a:pt x="1077" y="817"/>
                    <a:pt x="1069" y="825"/>
                    <a:pt x="1069" y="832"/>
                  </a:cubicBezTo>
                  <a:cubicBezTo>
                    <a:pt x="1040" y="847"/>
                    <a:pt x="1062" y="862"/>
                    <a:pt x="1025" y="854"/>
                  </a:cubicBezTo>
                  <a:cubicBezTo>
                    <a:pt x="1002" y="847"/>
                    <a:pt x="980" y="847"/>
                    <a:pt x="950" y="847"/>
                  </a:cubicBezTo>
                  <a:cubicBezTo>
                    <a:pt x="950" y="773"/>
                    <a:pt x="809" y="765"/>
                    <a:pt x="817" y="825"/>
                  </a:cubicBezTo>
                  <a:cubicBezTo>
                    <a:pt x="772" y="825"/>
                    <a:pt x="735" y="817"/>
                    <a:pt x="698" y="795"/>
                  </a:cubicBezTo>
                  <a:cubicBezTo>
                    <a:pt x="653" y="780"/>
                    <a:pt x="639" y="817"/>
                    <a:pt x="616" y="854"/>
                  </a:cubicBezTo>
                  <a:cubicBezTo>
                    <a:pt x="602" y="877"/>
                    <a:pt x="550" y="899"/>
                    <a:pt x="550" y="936"/>
                  </a:cubicBezTo>
                  <a:cubicBezTo>
                    <a:pt x="550" y="973"/>
                    <a:pt x="542" y="988"/>
                    <a:pt x="505" y="980"/>
                  </a:cubicBezTo>
                  <a:cubicBezTo>
                    <a:pt x="497" y="958"/>
                    <a:pt x="497" y="936"/>
                    <a:pt x="483" y="921"/>
                  </a:cubicBezTo>
                  <a:cubicBezTo>
                    <a:pt x="475" y="914"/>
                    <a:pt x="445" y="899"/>
                    <a:pt x="445" y="891"/>
                  </a:cubicBezTo>
                  <a:cubicBezTo>
                    <a:pt x="453" y="854"/>
                    <a:pt x="497" y="832"/>
                    <a:pt x="497" y="795"/>
                  </a:cubicBezTo>
                  <a:cubicBezTo>
                    <a:pt x="497" y="787"/>
                    <a:pt x="505" y="758"/>
                    <a:pt x="483" y="758"/>
                  </a:cubicBezTo>
                  <a:cubicBezTo>
                    <a:pt x="468" y="758"/>
                    <a:pt x="475" y="773"/>
                    <a:pt x="468" y="780"/>
                  </a:cubicBezTo>
                  <a:cubicBezTo>
                    <a:pt x="423" y="825"/>
                    <a:pt x="438" y="698"/>
                    <a:pt x="438" y="691"/>
                  </a:cubicBezTo>
                  <a:cubicBezTo>
                    <a:pt x="401" y="654"/>
                    <a:pt x="401" y="758"/>
                    <a:pt x="349" y="669"/>
                  </a:cubicBezTo>
                  <a:cubicBezTo>
                    <a:pt x="312" y="617"/>
                    <a:pt x="223" y="617"/>
                    <a:pt x="171" y="617"/>
                  </a:cubicBezTo>
                  <a:cubicBezTo>
                    <a:pt x="163" y="632"/>
                    <a:pt x="148" y="632"/>
                    <a:pt x="148" y="646"/>
                  </a:cubicBezTo>
                  <a:cubicBezTo>
                    <a:pt x="97" y="676"/>
                    <a:pt x="59" y="624"/>
                    <a:pt x="15" y="617"/>
                  </a:cubicBezTo>
                  <a:cubicBezTo>
                    <a:pt x="7" y="617"/>
                    <a:pt x="0" y="617"/>
                    <a:pt x="0" y="617"/>
                  </a:cubicBezTo>
                  <a:cubicBezTo>
                    <a:pt x="0" y="624"/>
                    <a:pt x="0" y="632"/>
                    <a:pt x="0" y="632"/>
                  </a:cubicBezTo>
                  <a:cubicBezTo>
                    <a:pt x="0" y="654"/>
                    <a:pt x="7" y="676"/>
                    <a:pt x="22" y="691"/>
                  </a:cubicBezTo>
                  <a:cubicBezTo>
                    <a:pt x="30" y="698"/>
                    <a:pt x="67" y="698"/>
                    <a:pt x="67" y="706"/>
                  </a:cubicBezTo>
                  <a:cubicBezTo>
                    <a:pt x="74" y="713"/>
                    <a:pt x="74" y="735"/>
                    <a:pt x="67" y="750"/>
                  </a:cubicBezTo>
                  <a:cubicBezTo>
                    <a:pt x="15" y="750"/>
                    <a:pt x="30" y="802"/>
                    <a:pt x="30" y="840"/>
                  </a:cubicBezTo>
                  <a:cubicBezTo>
                    <a:pt x="45" y="840"/>
                    <a:pt x="67" y="840"/>
                    <a:pt x="89" y="847"/>
                  </a:cubicBezTo>
                  <a:cubicBezTo>
                    <a:pt x="89" y="884"/>
                    <a:pt x="89" y="906"/>
                    <a:pt x="67" y="936"/>
                  </a:cubicBezTo>
                  <a:cubicBezTo>
                    <a:pt x="52" y="973"/>
                    <a:pt x="74" y="1010"/>
                    <a:pt x="67" y="1047"/>
                  </a:cubicBezTo>
                  <a:cubicBezTo>
                    <a:pt x="45" y="1047"/>
                    <a:pt x="22" y="1047"/>
                    <a:pt x="0" y="1047"/>
                  </a:cubicBezTo>
                  <a:cubicBezTo>
                    <a:pt x="0" y="1077"/>
                    <a:pt x="30" y="1085"/>
                    <a:pt x="52" y="1092"/>
                  </a:cubicBezTo>
                  <a:cubicBezTo>
                    <a:pt x="52" y="1107"/>
                    <a:pt x="59" y="1114"/>
                    <a:pt x="59" y="1129"/>
                  </a:cubicBezTo>
                  <a:cubicBezTo>
                    <a:pt x="104" y="1114"/>
                    <a:pt x="148" y="1122"/>
                    <a:pt x="186" y="1129"/>
                  </a:cubicBezTo>
                  <a:cubicBezTo>
                    <a:pt x="193" y="1062"/>
                    <a:pt x="275" y="1122"/>
                    <a:pt x="312" y="1137"/>
                  </a:cubicBezTo>
                  <a:cubicBezTo>
                    <a:pt x="312" y="1151"/>
                    <a:pt x="312" y="1174"/>
                    <a:pt x="312" y="1188"/>
                  </a:cubicBezTo>
                  <a:cubicBezTo>
                    <a:pt x="319" y="1188"/>
                    <a:pt x="334" y="1196"/>
                    <a:pt x="342" y="1188"/>
                  </a:cubicBezTo>
                  <a:cubicBezTo>
                    <a:pt x="364" y="1277"/>
                    <a:pt x="497" y="1196"/>
                    <a:pt x="535" y="1203"/>
                  </a:cubicBezTo>
                  <a:cubicBezTo>
                    <a:pt x="535" y="1211"/>
                    <a:pt x="542" y="1218"/>
                    <a:pt x="542" y="1226"/>
                  </a:cubicBezTo>
                  <a:cubicBezTo>
                    <a:pt x="602" y="1226"/>
                    <a:pt x="594" y="1277"/>
                    <a:pt x="587" y="1322"/>
                  </a:cubicBezTo>
                  <a:cubicBezTo>
                    <a:pt x="587" y="1337"/>
                    <a:pt x="587" y="1367"/>
                    <a:pt x="594" y="1382"/>
                  </a:cubicBezTo>
                  <a:cubicBezTo>
                    <a:pt x="602" y="1389"/>
                    <a:pt x="639" y="1411"/>
                    <a:pt x="639" y="1396"/>
                  </a:cubicBezTo>
                  <a:cubicBezTo>
                    <a:pt x="624" y="1485"/>
                    <a:pt x="602" y="1604"/>
                    <a:pt x="653" y="1679"/>
                  </a:cubicBezTo>
                  <a:cubicBezTo>
                    <a:pt x="676" y="1716"/>
                    <a:pt x="676" y="1745"/>
                    <a:pt x="691" y="1782"/>
                  </a:cubicBezTo>
                  <a:cubicBezTo>
                    <a:pt x="705" y="1820"/>
                    <a:pt x="757" y="1805"/>
                    <a:pt x="787" y="1805"/>
                  </a:cubicBezTo>
                  <a:cubicBezTo>
                    <a:pt x="787" y="1857"/>
                    <a:pt x="802" y="1879"/>
                    <a:pt x="847" y="1901"/>
                  </a:cubicBezTo>
                  <a:cubicBezTo>
                    <a:pt x="891" y="1924"/>
                    <a:pt x="936" y="1983"/>
                    <a:pt x="950" y="2035"/>
                  </a:cubicBezTo>
                  <a:cubicBezTo>
                    <a:pt x="973" y="2102"/>
                    <a:pt x="817" y="2280"/>
                    <a:pt x="958" y="2302"/>
                  </a:cubicBezTo>
                  <a:cubicBezTo>
                    <a:pt x="973" y="2302"/>
                    <a:pt x="988" y="2302"/>
                    <a:pt x="995" y="2302"/>
                  </a:cubicBezTo>
                  <a:cubicBezTo>
                    <a:pt x="1017" y="2295"/>
                    <a:pt x="1032" y="2317"/>
                    <a:pt x="1054" y="2310"/>
                  </a:cubicBezTo>
                  <a:cubicBezTo>
                    <a:pt x="1054" y="2273"/>
                    <a:pt x="1032" y="2243"/>
                    <a:pt x="1040" y="2206"/>
                  </a:cubicBezTo>
                  <a:cubicBezTo>
                    <a:pt x="1047" y="2161"/>
                    <a:pt x="1121" y="2184"/>
                    <a:pt x="1151" y="2184"/>
                  </a:cubicBezTo>
                  <a:cubicBezTo>
                    <a:pt x="1136" y="2154"/>
                    <a:pt x="1129" y="2132"/>
                    <a:pt x="1129" y="2102"/>
                  </a:cubicBezTo>
                  <a:cubicBezTo>
                    <a:pt x="1144" y="2102"/>
                    <a:pt x="1144" y="2094"/>
                    <a:pt x="1151" y="2094"/>
                  </a:cubicBezTo>
                  <a:cubicBezTo>
                    <a:pt x="1129" y="2094"/>
                    <a:pt x="1107" y="2087"/>
                    <a:pt x="1114" y="2065"/>
                  </a:cubicBezTo>
                  <a:cubicBezTo>
                    <a:pt x="1233" y="2042"/>
                    <a:pt x="1247" y="2198"/>
                    <a:pt x="1352" y="2191"/>
                  </a:cubicBezTo>
                  <a:cubicBezTo>
                    <a:pt x="1366" y="2176"/>
                    <a:pt x="1352" y="2139"/>
                    <a:pt x="1374" y="2124"/>
                  </a:cubicBezTo>
                  <a:cubicBezTo>
                    <a:pt x="1389" y="2109"/>
                    <a:pt x="1426" y="2124"/>
                    <a:pt x="1448" y="2124"/>
                  </a:cubicBezTo>
                  <a:cubicBezTo>
                    <a:pt x="1448" y="2102"/>
                    <a:pt x="1455" y="2087"/>
                    <a:pt x="1455" y="2065"/>
                  </a:cubicBezTo>
                  <a:cubicBezTo>
                    <a:pt x="1493" y="2042"/>
                    <a:pt x="1522" y="2117"/>
                    <a:pt x="1567" y="2124"/>
                  </a:cubicBezTo>
                  <a:cubicBezTo>
                    <a:pt x="1559" y="2124"/>
                    <a:pt x="1567" y="2132"/>
                    <a:pt x="1559" y="2139"/>
                  </a:cubicBezTo>
                  <a:cubicBezTo>
                    <a:pt x="1507" y="2161"/>
                    <a:pt x="1522" y="2280"/>
                    <a:pt x="1515" y="2325"/>
                  </a:cubicBezTo>
                  <a:cubicBezTo>
                    <a:pt x="1507" y="2362"/>
                    <a:pt x="1470" y="2488"/>
                    <a:pt x="1544" y="2466"/>
                  </a:cubicBezTo>
                  <a:cubicBezTo>
                    <a:pt x="1552" y="2421"/>
                    <a:pt x="1582" y="2414"/>
                    <a:pt x="1619" y="2421"/>
                  </a:cubicBezTo>
                  <a:cubicBezTo>
                    <a:pt x="1619" y="2399"/>
                    <a:pt x="1619" y="2384"/>
                    <a:pt x="1612" y="2369"/>
                  </a:cubicBezTo>
                  <a:cubicBezTo>
                    <a:pt x="1649" y="2392"/>
                    <a:pt x="1730" y="2384"/>
                    <a:pt x="1760" y="2362"/>
                  </a:cubicBezTo>
                  <a:cubicBezTo>
                    <a:pt x="1790" y="2339"/>
                    <a:pt x="1804" y="2302"/>
                    <a:pt x="1842" y="2287"/>
                  </a:cubicBezTo>
                  <a:cubicBezTo>
                    <a:pt x="1834" y="2280"/>
                    <a:pt x="1827" y="2265"/>
                    <a:pt x="1819" y="2258"/>
                  </a:cubicBezTo>
                  <a:cubicBezTo>
                    <a:pt x="1827" y="2265"/>
                    <a:pt x="1834" y="2280"/>
                    <a:pt x="1842" y="2287"/>
                  </a:cubicBezTo>
                  <a:lnTo>
                    <a:pt x="1842" y="2287"/>
                  </a:lnTo>
                  <a:cubicBezTo>
                    <a:pt x="1864" y="2280"/>
                    <a:pt x="1901" y="2295"/>
                    <a:pt x="1923" y="2280"/>
                  </a:cubicBezTo>
                </a:path>
              </a:pathLst>
            </a:custGeom>
            <a:grpFill/>
            <a:ln w="6350" cap="flat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lIns="60927" tIns="30463" rIns="60927" bIns="30463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5" name="Freeform 7"/>
            <p:cNvSpPr>
              <a:spLocks noChangeArrowheads="1"/>
            </p:cNvSpPr>
            <p:nvPr/>
          </p:nvSpPr>
          <p:spPr bwMode="auto">
            <a:xfrm>
              <a:off x="9251061" y="7745474"/>
              <a:ext cx="2497338" cy="1992732"/>
            </a:xfrm>
            <a:custGeom>
              <a:avLst/>
              <a:gdLst>
                <a:gd name="T0" fmla="*/ 757 w 5778"/>
                <a:gd name="T1" fmla="*/ 4611 h 4612"/>
                <a:gd name="T2" fmla="*/ 920 w 5778"/>
                <a:gd name="T3" fmla="*/ 4448 h 4612"/>
                <a:gd name="T4" fmla="*/ 913 w 5778"/>
                <a:gd name="T5" fmla="*/ 4077 h 4612"/>
                <a:gd name="T6" fmla="*/ 1091 w 5778"/>
                <a:gd name="T7" fmla="*/ 3936 h 4612"/>
                <a:gd name="T8" fmla="*/ 1388 w 5778"/>
                <a:gd name="T9" fmla="*/ 3676 h 4612"/>
                <a:gd name="T10" fmla="*/ 1916 w 5778"/>
                <a:gd name="T11" fmla="*/ 3690 h 4612"/>
                <a:gd name="T12" fmla="*/ 2027 w 5778"/>
                <a:gd name="T13" fmla="*/ 3334 h 4612"/>
                <a:gd name="T14" fmla="*/ 2495 w 5778"/>
                <a:gd name="T15" fmla="*/ 3482 h 4612"/>
                <a:gd name="T16" fmla="*/ 2584 w 5778"/>
                <a:gd name="T17" fmla="*/ 3208 h 4612"/>
                <a:gd name="T18" fmla="*/ 2822 w 5778"/>
                <a:gd name="T19" fmla="*/ 3030 h 4612"/>
                <a:gd name="T20" fmla="*/ 2955 w 5778"/>
                <a:gd name="T21" fmla="*/ 2918 h 4612"/>
                <a:gd name="T22" fmla="*/ 3364 w 5778"/>
                <a:gd name="T23" fmla="*/ 2792 h 4612"/>
                <a:gd name="T24" fmla="*/ 3512 w 5778"/>
                <a:gd name="T25" fmla="*/ 2495 h 4612"/>
                <a:gd name="T26" fmla="*/ 3653 w 5778"/>
                <a:gd name="T27" fmla="*/ 2027 h 4612"/>
                <a:gd name="T28" fmla="*/ 3780 w 5778"/>
                <a:gd name="T29" fmla="*/ 1997 h 4612"/>
                <a:gd name="T30" fmla="*/ 3965 w 5778"/>
                <a:gd name="T31" fmla="*/ 1626 h 4612"/>
                <a:gd name="T32" fmla="*/ 4396 w 5778"/>
                <a:gd name="T33" fmla="*/ 1864 h 4612"/>
                <a:gd name="T34" fmla="*/ 4589 w 5778"/>
                <a:gd name="T35" fmla="*/ 1849 h 4612"/>
                <a:gd name="T36" fmla="*/ 4782 w 5778"/>
                <a:gd name="T37" fmla="*/ 1960 h 4612"/>
                <a:gd name="T38" fmla="*/ 5094 w 5778"/>
                <a:gd name="T39" fmla="*/ 2005 h 4612"/>
                <a:gd name="T40" fmla="*/ 5116 w 5778"/>
                <a:gd name="T41" fmla="*/ 2540 h 4612"/>
                <a:gd name="T42" fmla="*/ 5287 w 5778"/>
                <a:gd name="T43" fmla="*/ 2554 h 4612"/>
                <a:gd name="T44" fmla="*/ 5532 w 5778"/>
                <a:gd name="T45" fmla="*/ 2101 h 4612"/>
                <a:gd name="T46" fmla="*/ 5740 w 5778"/>
                <a:gd name="T47" fmla="*/ 2079 h 4612"/>
                <a:gd name="T48" fmla="*/ 5450 w 5778"/>
                <a:gd name="T49" fmla="*/ 1804 h 4612"/>
                <a:gd name="T50" fmla="*/ 5435 w 5778"/>
                <a:gd name="T51" fmla="*/ 1485 h 4612"/>
                <a:gd name="T52" fmla="*/ 5554 w 5778"/>
                <a:gd name="T53" fmla="*/ 987 h 4612"/>
                <a:gd name="T54" fmla="*/ 5629 w 5778"/>
                <a:gd name="T55" fmla="*/ 750 h 4612"/>
                <a:gd name="T56" fmla="*/ 5354 w 5778"/>
                <a:gd name="T57" fmla="*/ 497 h 4612"/>
                <a:gd name="T58" fmla="*/ 4797 w 5778"/>
                <a:gd name="T59" fmla="*/ 482 h 4612"/>
                <a:gd name="T60" fmla="*/ 4418 w 5778"/>
                <a:gd name="T61" fmla="*/ 438 h 4612"/>
                <a:gd name="T62" fmla="*/ 4017 w 5778"/>
                <a:gd name="T63" fmla="*/ 453 h 4612"/>
                <a:gd name="T64" fmla="*/ 3379 w 5778"/>
                <a:gd name="T65" fmla="*/ 431 h 4612"/>
                <a:gd name="T66" fmla="*/ 3193 w 5778"/>
                <a:gd name="T67" fmla="*/ 341 h 4612"/>
                <a:gd name="T68" fmla="*/ 2807 w 5778"/>
                <a:gd name="T69" fmla="*/ 571 h 4612"/>
                <a:gd name="T70" fmla="*/ 2502 w 5778"/>
                <a:gd name="T71" fmla="*/ 683 h 4612"/>
                <a:gd name="T72" fmla="*/ 2005 w 5778"/>
                <a:gd name="T73" fmla="*/ 460 h 4612"/>
                <a:gd name="T74" fmla="*/ 1336 w 5778"/>
                <a:gd name="T75" fmla="*/ 0 h 4612"/>
                <a:gd name="T76" fmla="*/ 1099 w 5778"/>
                <a:gd name="T77" fmla="*/ 52 h 4612"/>
                <a:gd name="T78" fmla="*/ 928 w 5778"/>
                <a:gd name="T79" fmla="*/ 260 h 4612"/>
                <a:gd name="T80" fmla="*/ 1032 w 5778"/>
                <a:gd name="T81" fmla="*/ 416 h 4612"/>
                <a:gd name="T82" fmla="*/ 735 w 5778"/>
                <a:gd name="T83" fmla="*/ 601 h 4612"/>
                <a:gd name="T84" fmla="*/ 765 w 5778"/>
                <a:gd name="T85" fmla="*/ 995 h 4612"/>
                <a:gd name="T86" fmla="*/ 564 w 5778"/>
                <a:gd name="T87" fmla="*/ 1047 h 4612"/>
                <a:gd name="T88" fmla="*/ 386 w 5778"/>
                <a:gd name="T89" fmla="*/ 1322 h 4612"/>
                <a:gd name="T90" fmla="*/ 104 w 5778"/>
                <a:gd name="T91" fmla="*/ 1181 h 4612"/>
                <a:gd name="T92" fmla="*/ 67 w 5778"/>
                <a:gd name="T93" fmla="*/ 1396 h 4612"/>
                <a:gd name="T94" fmla="*/ 126 w 5778"/>
                <a:gd name="T95" fmla="*/ 1633 h 4612"/>
                <a:gd name="T96" fmla="*/ 67 w 5778"/>
                <a:gd name="T97" fmla="*/ 1916 h 4612"/>
                <a:gd name="T98" fmla="*/ 185 w 5778"/>
                <a:gd name="T99" fmla="*/ 1916 h 4612"/>
                <a:gd name="T100" fmla="*/ 111 w 5778"/>
                <a:gd name="T101" fmla="*/ 2131 h 4612"/>
                <a:gd name="T102" fmla="*/ 81 w 5778"/>
                <a:gd name="T103" fmla="*/ 2287 h 4612"/>
                <a:gd name="T104" fmla="*/ 81 w 5778"/>
                <a:gd name="T105" fmla="*/ 2480 h 4612"/>
                <a:gd name="T106" fmla="*/ 81 w 5778"/>
                <a:gd name="T107" fmla="*/ 2562 h 4612"/>
                <a:gd name="T108" fmla="*/ 185 w 5778"/>
                <a:gd name="T109" fmla="*/ 3059 h 4612"/>
                <a:gd name="T110" fmla="*/ 215 w 5778"/>
                <a:gd name="T111" fmla="*/ 3356 h 4612"/>
                <a:gd name="T112" fmla="*/ 245 w 5778"/>
                <a:gd name="T113" fmla="*/ 3728 h 4612"/>
                <a:gd name="T114" fmla="*/ 312 w 5778"/>
                <a:gd name="T115" fmla="*/ 4166 h 4612"/>
                <a:gd name="T116" fmla="*/ 475 w 5778"/>
                <a:gd name="T117" fmla="*/ 4470 h 4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778" h="4612">
                  <a:moveTo>
                    <a:pt x="475" y="4470"/>
                  </a:moveTo>
                  <a:lnTo>
                    <a:pt x="475" y="4470"/>
                  </a:lnTo>
                  <a:cubicBezTo>
                    <a:pt x="482" y="4441"/>
                    <a:pt x="505" y="4441"/>
                    <a:pt x="542" y="4441"/>
                  </a:cubicBezTo>
                  <a:cubicBezTo>
                    <a:pt x="557" y="4500"/>
                    <a:pt x="601" y="4522"/>
                    <a:pt x="601" y="4582"/>
                  </a:cubicBezTo>
                  <a:cubicBezTo>
                    <a:pt x="646" y="4589"/>
                    <a:pt x="698" y="4611"/>
                    <a:pt x="742" y="4611"/>
                  </a:cubicBezTo>
                  <a:cubicBezTo>
                    <a:pt x="742" y="4611"/>
                    <a:pt x="750" y="4611"/>
                    <a:pt x="757" y="4611"/>
                  </a:cubicBezTo>
                  <a:cubicBezTo>
                    <a:pt x="750" y="4604"/>
                    <a:pt x="735" y="4604"/>
                    <a:pt x="720" y="4604"/>
                  </a:cubicBezTo>
                  <a:cubicBezTo>
                    <a:pt x="705" y="4537"/>
                    <a:pt x="824" y="4515"/>
                    <a:pt x="869" y="4522"/>
                  </a:cubicBezTo>
                  <a:cubicBezTo>
                    <a:pt x="869" y="4507"/>
                    <a:pt x="861" y="4500"/>
                    <a:pt x="846" y="4492"/>
                  </a:cubicBezTo>
                  <a:lnTo>
                    <a:pt x="846" y="4485"/>
                  </a:lnTo>
                  <a:cubicBezTo>
                    <a:pt x="876" y="4485"/>
                    <a:pt x="891" y="4500"/>
                    <a:pt x="920" y="4500"/>
                  </a:cubicBezTo>
                  <a:cubicBezTo>
                    <a:pt x="920" y="4485"/>
                    <a:pt x="920" y="4463"/>
                    <a:pt x="920" y="4448"/>
                  </a:cubicBezTo>
                  <a:cubicBezTo>
                    <a:pt x="950" y="4441"/>
                    <a:pt x="1017" y="4381"/>
                    <a:pt x="980" y="4351"/>
                  </a:cubicBezTo>
                  <a:cubicBezTo>
                    <a:pt x="950" y="4337"/>
                    <a:pt x="898" y="4351"/>
                    <a:pt x="913" y="4299"/>
                  </a:cubicBezTo>
                  <a:cubicBezTo>
                    <a:pt x="943" y="4284"/>
                    <a:pt x="972" y="4292"/>
                    <a:pt x="1010" y="4292"/>
                  </a:cubicBezTo>
                  <a:cubicBezTo>
                    <a:pt x="1017" y="4247"/>
                    <a:pt x="995" y="4136"/>
                    <a:pt x="928" y="4144"/>
                  </a:cubicBezTo>
                  <a:cubicBezTo>
                    <a:pt x="913" y="4181"/>
                    <a:pt x="891" y="4151"/>
                    <a:pt x="891" y="4129"/>
                  </a:cubicBezTo>
                  <a:cubicBezTo>
                    <a:pt x="876" y="4092"/>
                    <a:pt x="891" y="4099"/>
                    <a:pt x="913" y="4077"/>
                  </a:cubicBezTo>
                  <a:cubicBezTo>
                    <a:pt x="943" y="4047"/>
                    <a:pt x="854" y="3987"/>
                    <a:pt x="854" y="3950"/>
                  </a:cubicBezTo>
                  <a:cubicBezTo>
                    <a:pt x="883" y="3943"/>
                    <a:pt x="891" y="3980"/>
                    <a:pt x="920" y="3973"/>
                  </a:cubicBezTo>
                  <a:cubicBezTo>
                    <a:pt x="920" y="3950"/>
                    <a:pt x="920" y="3936"/>
                    <a:pt x="950" y="3928"/>
                  </a:cubicBezTo>
                  <a:cubicBezTo>
                    <a:pt x="1002" y="3921"/>
                    <a:pt x="972" y="3928"/>
                    <a:pt x="987" y="3891"/>
                  </a:cubicBezTo>
                  <a:cubicBezTo>
                    <a:pt x="1002" y="3869"/>
                    <a:pt x="1047" y="3876"/>
                    <a:pt x="1069" y="3876"/>
                  </a:cubicBezTo>
                  <a:cubicBezTo>
                    <a:pt x="1091" y="3891"/>
                    <a:pt x="1091" y="3913"/>
                    <a:pt x="1091" y="3936"/>
                  </a:cubicBezTo>
                  <a:cubicBezTo>
                    <a:pt x="1128" y="3936"/>
                    <a:pt x="1151" y="3921"/>
                    <a:pt x="1180" y="3928"/>
                  </a:cubicBezTo>
                  <a:cubicBezTo>
                    <a:pt x="1143" y="3891"/>
                    <a:pt x="1173" y="3854"/>
                    <a:pt x="1225" y="3854"/>
                  </a:cubicBezTo>
                  <a:cubicBezTo>
                    <a:pt x="1232" y="3832"/>
                    <a:pt x="1285" y="3824"/>
                    <a:pt x="1307" y="3824"/>
                  </a:cubicBezTo>
                  <a:cubicBezTo>
                    <a:pt x="1351" y="3817"/>
                    <a:pt x="1366" y="3787"/>
                    <a:pt x="1366" y="3742"/>
                  </a:cubicBezTo>
                  <a:cubicBezTo>
                    <a:pt x="1381" y="3742"/>
                    <a:pt x="1388" y="3742"/>
                    <a:pt x="1396" y="3742"/>
                  </a:cubicBezTo>
                  <a:cubicBezTo>
                    <a:pt x="1396" y="3728"/>
                    <a:pt x="1403" y="3683"/>
                    <a:pt x="1388" y="3676"/>
                  </a:cubicBezTo>
                  <a:cubicBezTo>
                    <a:pt x="1448" y="3676"/>
                    <a:pt x="1522" y="3683"/>
                    <a:pt x="1559" y="3735"/>
                  </a:cubicBezTo>
                  <a:cubicBezTo>
                    <a:pt x="1574" y="3757"/>
                    <a:pt x="1611" y="3750"/>
                    <a:pt x="1633" y="3742"/>
                  </a:cubicBezTo>
                  <a:cubicBezTo>
                    <a:pt x="1656" y="3735"/>
                    <a:pt x="1641" y="3705"/>
                    <a:pt x="1641" y="3690"/>
                  </a:cubicBezTo>
                  <a:cubicBezTo>
                    <a:pt x="1700" y="3668"/>
                    <a:pt x="1797" y="3698"/>
                    <a:pt x="1864" y="3690"/>
                  </a:cubicBezTo>
                  <a:cubicBezTo>
                    <a:pt x="1864" y="3676"/>
                    <a:pt x="1864" y="3661"/>
                    <a:pt x="1864" y="3653"/>
                  </a:cubicBezTo>
                  <a:cubicBezTo>
                    <a:pt x="1916" y="3646"/>
                    <a:pt x="1886" y="3668"/>
                    <a:pt x="1916" y="3690"/>
                  </a:cubicBezTo>
                  <a:cubicBezTo>
                    <a:pt x="1953" y="3713"/>
                    <a:pt x="1953" y="3661"/>
                    <a:pt x="1953" y="3646"/>
                  </a:cubicBezTo>
                  <a:cubicBezTo>
                    <a:pt x="1945" y="3609"/>
                    <a:pt x="1953" y="3587"/>
                    <a:pt x="1938" y="3557"/>
                  </a:cubicBezTo>
                  <a:cubicBezTo>
                    <a:pt x="1923" y="3527"/>
                    <a:pt x="1938" y="3505"/>
                    <a:pt x="1960" y="3490"/>
                  </a:cubicBezTo>
                  <a:cubicBezTo>
                    <a:pt x="1968" y="3453"/>
                    <a:pt x="1930" y="3423"/>
                    <a:pt x="1938" y="3386"/>
                  </a:cubicBezTo>
                  <a:cubicBezTo>
                    <a:pt x="1938" y="3356"/>
                    <a:pt x="1953" y="3319"/>
                    <a:pt x="1953" y="3282"/>
                  </a:cubicBezTo>
                  <a:cubicBezTo>
                    <a:pt x="1997" y="3275"/>
                    <a:pt x="2005" y="3304"/>
                    <a:pt x="2027" y="3334"/>
                  </a:cubicBezTo>
                  <a:cubicBezTo>
                    <a:pt x="2042" y="3342"/>
                    <a:pt x="2094" y="3356"/>
                    <a:pt x="2101" y="3334"/>
                  </a:cubicBezTo>
                  <a:cubicBezTo>
                    <a:pt x="2131" y="3334"/>
                    <a:pt x="2168" y="3386"/>
                    <a:pt x="2183" y="3416"/>
                  </a:cubicBezTo>
                  <a:cubicBezTo>
                    <a:pt x="2213" y="3416"/>
                    <a:pt x="2257" y="3431"/>
                    <a:pt x="2287" y="3416"/>
                  </a:cubicBezTo>
                  <a:lnTo>
                    <a:pt x="2287" y="3401"/>
                  </a:lnTo>
                  <a:cubicBezTo>
                    <a:pt x="2287" y="3401"/>
                    <a:pt x="2384" y="3438"/>
                    <a:pt x="2391" y="3438"/>
                  </a:cubicBezTo>
                  <a:cubicBezTo>
                    <a:pt x="2443" y="3438"/>
                    <a:pt x="2458" y="3453"/>
                    <a:pt x="2495" y="3482"/>
                  </a:cubicBezTo>
                  <a:cubicBezTo>
                    <a:pt x="2502" y="3460"/>
                    <a:pt x="2517" y="3453"/>
                    <a:pt x="2517" y="3438"/>
                  </a:cubicBezTo>
                  <a:cubicBezTo>
                    <a:pt x="2487" y="3423"/>
                    <a:pt x="2480" y="3379"/>
                    <a:pt x="2480" y="3349"/>
                  </a:cubicBezTo>
                  <a:cubicBezTo>
                    <a:pt x="2487" y="3327"/>
                    <a:pt x="2502" y="3319"/>
                    <a:pt x="2495" y="3297"/>
                  </a:cubicBezTo>
                  <a:cubicBezTo>
                    <a:pt x="2487" y="3282"/>
                    <a:pt x="2480" y="3267"/>
                    <a:pt x="2487" y="3252"/>
                  </a:cubicBezTo>
                  <a:cubicBezTo>
                    <a:pt x="2510" y="3252"/>
                    <a:pt x="2532" y="3267"/>
                    <a:pt x="2562" y="3267"/>
                  </a:cubicBezTo>
                  <a:cubicBezTo>
                    <a:pt x="2584" y="3267"/>
                    <a:pt x="2569" y="3223"/>
                    <a:pt x="2584" y="3208"/>
                  </a:cubicBezTo>
                  <a:cubicBezTo>
                    <a:pt x="2606" y="3185"/>
                    <a:pt x="2606" y="3163"/>
                    <a:pt x="2643" y="3156"/>
                  </a:cubicBezTo>
                  <a:cubicBezTo>
                    <a:pt x="2673" y="3156"/>
                    <a:pt x="2695" y="3171"/>
                    <a:pt x="2725" y="3171"/>
                  </a:cubicBezTo>
                  <a:cubicBezTo>
                    <a:pt x="2755" y="3252"/>
                    <a:pt x="2762" y="3163"/>
                    <a:pt x="2807" y="3148"/>
                  </a:cubicBezTo>
                  <a:cubicBezTo>
                    <a:pt x="2836" y="3141"/>
                    <a:pt x="2844" y="3119"/>
                    <a:pt x="2814" y="3096"/>
                  </a:cubicBezTo>
                  <a:cubicBezTo>
                    <a:pt x="2792" y="3082"/>
                    <a:pt x="2807" y="3052"/>
                    <a:pt x="2814" y="3030"/>
                  </a:cubicBezTo>
                  <a:cubicBezTo>
                    <a:pt x="2814" y="3030"/>
                    <a:pt x="2814" y="3030"/>
                    <a:pt x="2822" y="3030"/>
                  </a:cubicBezTo>
                  <a:cubicBezTo>
                    <a:pt x="2822" y="3037"/>
                    <a:pt x="2822" y="3045"/>
                    <a:pt x="2822" y="3052"/>
                  </a:cubicBezTo>
                  <a:cubicBezTo>
                    <a:pt x="2859" y="3074"/>
                    <a:pt x="2896" y="3067"/>
                    <a:pt x="2933" y="3052"/>
                  </a:cubicBezTo>
                  <a:cubicBezTo>
                    <a:pt x="2926" y="3052"/>
                    <a:pt x="2948" y="3030"/>
                    <a:pt x="2948" y="3030"/>
                  </a:cubicBezTo>
                  <a:cubicBezTo>
                    <a:pt x="2955" y="3022"/>
                    <a:pt x="2948" y="3000"/>
                    <a:pt x="2948" y="2985"/>
                  </a:cubicBezTo>
                  <a:cubicBezTo>
                    <a:pt x="2985" y="2985"/>
                    <a:pt x="2985" y="2985"/>
                    <a:pt x="2985" y="2948"/>
                  </a:cubicBezTo>
                  <a:cubicBezTo>
                    <a:pt x="2985" y="2933"/>
                    <a:pt x="2970" y="2918"/>
                    <a:pt x="2955" y="2918"/>
                  </a:cubicBezTo>
                  <a:cubicBezTo>
                    <a:pt x="2985" y="2822"/>
                    <a:pt x="3089" y="2918"/>
                    <a:pt x="3126" y="2859"/>
                  </a:cubicBezTo>
                  <a:cubicBezTo>
                    <a:pt x="3148" y="2822"/>
                    <a:pt x="3193" y="2814"/>
                    <a:pt x="3215" y="2777"/>
                  </a:cubicBezTo>
                  <a:cubicBezTo>
                    <a:pt x="3245" y="2732"/>
                    <a:pt x="3230" y="2718"/>
                    <a:pt x="3289" y="2725"/>
                  </a:cubicBezTo>
                  <a:cubicBezTo>
                    <a:pt x="3297" y="2755"/>
                    <a:pt x="3282" y="2918"/>
                    <a:pt x="3341" y="2822"/>
                  </a:cubicBezTo>
                  <a:cubicBezTo>
                    <a:pt x="3349" y="2822"/>
                    <a:pt x="3349" y="2822"/>
                    <a:pt x="3356" y="2822"/>
                  </a:cubicBezTo>
                  <a:cubicBezTo>
                    <a:pt x="3356" y="2807"/>
                    <a:pt x="3356" y="2799"/>
                    <a:pt x="3364" y="2792"/>
                  </a:cubicBezTo>
                  <a:cubicBezTo>
                    <a:pt x="3371" y="2762"/>
                    <a:pt x="3394" y="2732"/>
                    <a:pt x="3379" y="2695"/>
                  </a:cubicBezTo>
                  <a:cubicBezTo>
                    <a:pt x="3371" y="2673"/>
                    <a:pt x="3356" y="2673"/>
                    <a:pt x="3356" y="2643"/>
                  </a:cubicBezTo>
                  <a:cubicBezTo>
                    <a:pt x="3379" y="2636"/>
                    <a:pt x="3379" y="2621"/>
                    <a:pt x="3371" y="2606"/>
                  </a:cubicBezTo>
                  <a:cubicBezTo>
                    <a:pt x="3394" y="2606"/>
                    <a:pt x="3408" y="2599"/>
                    <a:pt x="3401" y="2577"/>
                  </a:cubicBezTo>
                  <a:cubicBezTo>
                    <a:pt x="3423" y="2562"/>
                    <a:pt x="3460" y="2584"/>
                    <a:pt x="3482" y="2577"/>
                  </a:cubicBezTo>
                  <a:cubicBezTo>
                    <a:pt x="3497" y="2577"/>
                    <a:pt x="3505" y="2502"/>
                    <a:pt x="3512" y="2495"/>
                  </a:cubicBezTo>
                  <a:cubicBezTo>
                    <a:pt x="3534" y="2450"/>
                    <a:pt x="3564" y="2413"/>
                    <a:pt x="3601" y="2398"/>
                  </a:cubicBezTo>
                  <a:cubicBezTo>
                    <a:pt x="3631" y="2383"/>
                    <a:pt x="3646" y="2376"/>
                    <a:pt x="3639" y="2339"/>
                  </a:cubicBezTo>
                  <a:lnTo>
                    <a:pt x="3609" y="2339"/>
                  </a:lnTo>
                  <a:cubicBezTo>
                    <a:pt x="3616" y="2287"/>
                    <a:pt x="3482" y="2220"/>
                    <a:pt x="3579" y="2190"/>
                  </a:cubicBezTo>
                  <a:cubicBezTo>
                    <a:pt x="3624" y="2175"/>
                    <a:pt x="3594" y="2131"/>
                    <a:pt x="3616" y="2094"/>
                  </a:cubicBezTo>
                  <a:cubicBezTo>
                    <a:pt x="3631" y="2072"/>
                    <a:pt x="3661" y="2064"/>
                    <a:pt x="3653" y="2027"/>
                  </a:cubicBezTo>
                  <a:cubicBezTo>
                    <a:pt x="3668" y="2020"/>
                    <a:pt x="3683" y="2020"/>
                    <a:pt x="3698" y="2027"/>
                  </a:cubicBezTo>
                  <a:cubicBezTo>
                    <a:pt x="3691" y="2064"/>
                    <a:pt x="3750" y="2072"/>
                    <a:pt x="3728" y="2116"/>
                  </a:cubicBezTo>
                  <a:cubicBezTo>
                    <a:pt x="3750" y="2086"/>
                    <a:pt x="3794" y="2094"/>
                    <a:pt x="3824" y="2094"/>
                  </a:cubicBezTo>
                  <a:cubicBezTo>
                    <a:pt x="3831" y="2086"/>
                    <a:pt x="3839" y="2079"/>
                    <a:pt x="3839" y="2079"/>
                  </a:cubicBezTo>
                  <a:cubicBezTo>
                    <a:pt x="3824" y="2064"/>
                    <a:pt x="3824" y="2035"/>
                    <a:pt x="3802" y="2020"/>
                  </a:cubicBezTo>
                  <a:cubicBezTo>
                    <a:pt x="3787" y="2012"/>
                    <a:pt x="3780" y="2012"/>
                    <a:pt x="3780" y="1997"/>
                  </a:cubicBezTo>
                  <a:cubicBezTo>
                    <a:pt x="3839" y="1990"/>
                    <a:pt x="3876" y="1997"/>
                    <a:pt x="3921" y="1945"/>
                  </a:cubicBezTo>
                  <a:cubicBezTo>
                    <a:pt x="3943" y="1923"/>
                    <a:pt x="3943" y="1841"/>
                    <a:pt x="3943" y="1812"/>
                  </a:cubicBezTo>
                  <a:cubicBezTo>
                    <a:pt x="3943" y="1789"/>
                    <a:pt x="3913" y="1797"/>
                    <a:pt x="3928" y="1775"/>
                  </a:cubicBezTo>
                  <a:cubicBezTo>
                    <a:pt x="3936" y="1760"/>
                    <a:pt x="3958" y="1767"/>
                    <a:pt x="3965" y="1752"/>
                  </a:cubicBezTo>
                  <a:cubicBezTo>
                    <a:pt x="4002" y="1708"/>
                    <a:pt x="3936" y="1685"/>
                    <a:pt x="3936" y="1648"/>
                  </a:cubicBezTo>
                  <a:cubicBezTo>
                    <a:pt x="3943" y="1648"/>
                    <a:pt x="3958" y="1633"/>
                    <a:pt x="3965" y="1626"/>
                  </a:cubicBezTo>
                  <a:cubicBezTo>
                    <a:pt x="3980" y="1648"/>
                    <a:pt x="4077" y="1678"/>
                    <a:pt x="4077" y="1715"/>
                  </a:cubicBezTo>
                  <a:cubicBezTo>
                    <a:pt x="4121" y="1723"/>
                    <a:pt x="4166" y="1693"/>
                    <a:pt x="4210" y="1708"/>
                  </a:cubicBezTo>
                  <a:cubicBezTo>
                    <a:pt x="4247" y="1723"/>
                    <a:pt x="4285" y="1723"/>
                    <a:pt x="4322" y="1723"/>
                  </a:cubicBezTo>
                  <a:cubicBezTo>
                    <a:pt x="4322" y="1760"/>
                    <a:pt x="4322" y="1797"/>
                    <a:pt x="4322" y="1827"/>
                  </a:cubicBezTo>
                  <a:cubicBezTo>
                    <a:pt x="4351" y="1834"/>
                    <a:pt x="4388" y="1819"/>
                    <a:pt x="4418" y="1827"/>
                  </a:cubicBezTo>
                  <a:cubicBezTo>
                    <a:pt x="4426" y="1849"/>
                    <a:pt x="4411" y="1856"/>
                    <a:pt x="4396" y="1864"/>
                  </a:cubicBezTo>
                  <a:cubicBezTo>
                    <a:pt x="4374" y="1878"/>
                    <a:pt x="4374" y="1908"/>
                    <a:pt x="4374" y="1930"/>
                  </a:cubicBezTo>
                  <a:cubicBezTo>
                    <a:pt x="4411" y="1938"/>
                    <a:pt x="4455" y="1930"/>
                    <a:pt x="4493" y="1938"/>
                  </a:cubicBezTo>
                  <a:cubicBezTo>
                    <a:pt x="4493" y="1930"/>
                    <a:pt x="4493" y="1930"/>
                    <a:pt x="4500" y="1923"/>
                  </a:cubicBezTo>
                  <a:cubicBezTo>
                    <a:pt x="4537" y="1923"/>
                    <a:pt x="4544" y="1975"/>
                    <a:pt x="4589" y="1968"/>
                  </a:cubicBezTo>
                  <a:cubicBezTo>
                    <a:pt x="4574" y="1953"/>
                    <a:pt x="4559" y="1923"/>
                    <a:pt x="4589" y="1908"/>
                  </a:cubicBezTo>
                  <a:cubicBezTo>
                    <a:pt x="4589" y="1893"/>
                    <a:pt x="4589" y="1871"/>
                    <a:pt x="4589" y="1849"/>
                  </a:cubicBezTo>
                  <a:cubicBezTo>
                    <a:pt x="4596" y="1849"/>
                    <a:pt x="4604" y="1849"/>
                    <a:pt x="4611" y="1849"/>
                  </a:cubicBezTo>
                  <a:cubicBezTo>
                    <a:pt x="4619" y="1856"/>
                    <a:pt x="4619" y="1878"/>
                    <a:pt x="4626" y="1878"/>
                  </a:cubicBezTo>
                  <a:cubicBezTo>
                    <a:pt x="4641" y="1893"/>
                    <a:pt x="4671" y="1886"/>
                    <a:pt x="4693" y="1886"/>
                  </a:cubicBezTo>
                  <a:cubicBezTo>
                    <a:pt x="4693" y="1893"/>
                    <a:pt x="4693" y="1908"/>
                    <a:pt x="4693" y="1916"/>
                  </a:cubicBezTo>
                  <a:cubicBezTo>
                    <a:pt x="4700" y="1916"/>
                    <a:pt x="4715" y="1916"/>
                    <a:pt x="4723" y="1916"/>
                  </a:cubicBezTo>
                  <a:cubicBezTo>
                    <a:pt x="4715" y="1945"/>
                    <a:pt x="4760" y="1997"/>
                    <a:pt x="4782" y="1960"/>
                  </a:cubicBezTo>
                  <a:cubicBezTo>
                    <a:pt x="4790" y="1945"/>
                    <a:pt x="4775" y="1930"/>
                    <a:pt x="4790" y="1916"/>
                  </a:cubicBezTo>
                  <a:cubicBezTo>
                    <a:pt x="4804" y="1908"/>
                    <a:pt x="4819" y="1930"/>
                    <a:pt x="4819" y="1945"/>
                  </a:cubicBezTo>
                  <a:cubicBezTo>
                    <a:pt x="4841" y="1945"/>
                    <a:pt x="4849" y="1923"/>
                    <a:pt x="4849" y="1901"/>
                  </a:cubicBezTo>
                  <a:cubicBezTo>
                    <a:pt x="4886" y="1901"/>
                    <a:pt x="4908" y="1916"/>
                    <a:pt x="4945" y="1908"/>
                  </a:cubicBezTo>
                  <a:cubicBezTo>
                    <a:pt x="4960" y="1901"/>
                    <a:pt x="4968" y="1908"/>
                    <a:pt x="4983" y="1923"/>
                  </a:cubicBezTo>
                  <a:cubicBezTo>
                    <a:pt x="5005" y="1953"/>
                    <a:pt x="5049" y="1997"/>
                    <a:pt x="5094" y="2005"/>
                  </a:cubicBezTo>
                  <a:cubicBezTo>
                    <a:pt x="5094" y="2027"/>
                    <a:pt x="5116" y="2035"/>
                    <a:pt x="5116" y="2057"/>
                  </a:cubicBezTo>
                  <a:cubicBezTo>
                    <a:pt x="5116" y="2086"/>
                    <a:pt x="5109" y="2101"/>
                    <a:pt x="5101" y="2124"/>
                  </a:cubicBezTo>
                  <a:cubicBezTo>
                    <a:pt x="5087" y="2168"/>
                    <a:pt x="5101" y="2220"/>
                    <a:pt x="5072" y="2257"/>
                  </a:cubicBezTo>
                  <a:cubicBezTo>
                    <a:pt x="5035" y="2287"/>
                    <a:pt x="5012" y="2324"/>
                    <a:pt x="5064" y="2346"/>
                  </a:cubicBezTo>
                  <a:cubicBezTo>
                    <a:pt x="5094" y="2361"/>
                    <a:pt x="5109" y="2458"/>
                    <a:pt x="5101" y="2487"/>
                  </a:cubicBezTo>
                  <a:cubicBezTo>
                    <a:pt x="5057" y="2487"/>
                    <a:pt x="5101" y="2532"/>
                    <a:pt x="5116" y="2540"/>
                  </a:cubicBezTo>
                  <a:cubicBezTo>
                    <a:pt x="5153" y="2577"/>
                    <a:pt x="5205" y="2584"/>
                    <a:pt x="5250" y="2599"/>
                  </a:cubicBezTo>
                  <a:cubicBezTo>
                    <a:pt x="5265" y="2599"/>
                    <a:pt x="5272" y="2599"/>
                    <a:pt x="5280" y="2599"/>
                  </a:cubicBezTo>
                  <a:cubicBezTo>
                    <a:pt x="5280" y="2591"/>
                    <a:pt x="5280" y="2591"/>
                    <a:pt x="5280" y="2591"/>
                  </a:cubicBezTo>
                  <a:cubicBezTo>
                    <a:pt x="5280" y="2591"/>
                    <a:pt x="5280" y="2591"/>
                    <a:pt x="5280" y="2599"/>
                  </a:cubicBezTo>
                  <a:lnTo>
                    <a:pt x="5287" y="2599"/>
                  </a:lnTo>
                  <a:cubicBezTo>
                    <a:pt x="5287" y="2577"/>
                    <a:pt x="5287" y="2554"/>
                    <a:pt x="5287" y="2554"/>
                  </a:cubicBezTo>
                  <a:cubicBezTo>
                    <a:pt x="5272" y="2502"/>
                    <a:pt x="5324" y="2517"/>
                    <a:pt x="5361" y="2495"/>
                  </a:cubicBezTo>
                  <a:cubicBezTo>
                    <a:pt x="5421" y="2458"/>
                    <a:pt x="5346" y="2428"/>
                    <a:pt x="5332" y="2406"/>
                  </a:cubicBezTo>
                  <a:cubicBezTo>
                    <a:pt x="5317" y="2383"/>
                    <a:pt x="5302" y="2294"/>
                    <a:pt x="5339" y="2287"/>
                  </a:cubicBezTo>
                  <a:cubicBezTo>
                    <a:pt x="5384" y="2280"/>
                    <a:pt x="5339" y="2213"/>
                    <a:pt x="5384" y="2205"/>
                  </a:cubicBezTo>
                  <a:cubicBezTo>
                    <a:pt x="5384" y="2198"/>
                    <a:pt x="5384" y="2198"/>
                    <a:pt x="5384" y="2190"/>
                  </a:cubicBezTo>
                  <a:cubicBezTo>
                    <a:pt x="5428" y="2198"/>
                    <a:pt x="5502" y="2079"/>
                    <a:pt x="5532" y="2101"/>
                  </a:cubicBezTo>
                  <a:cubicBezTo>
                    <a:pt x="5554" y="2116"/>
                    <a:pt x="5562" y="2153"/>
                    <a:pt x="5591" y="2161"/>
                  </a:cubicBezTo>
                  <a:cubicBezTo>
                    <a:pt x="5614" y="2168"/>
                    <a:pt x="5651" y="2175"/>
                    <a:pt x="5681" y="2168"/>
                  </a:cubicBezTo>
                  <a:cubicBezTo>
                    <a:pt x="5688" y="2153"/>
                    <a:pt x="5703" y="2153"/>
                    <a:pt x="5718" y="2146"/>
                  </a:cubicBezTo>
                  <a:cubicBezTo>
                    <a:pt x="5725" y="2131"/>
                    <a:pt x="5725" y="2138"/>
                    <a:pt x="5733" y="2131"/>
                  </a:cubicBezTo>
                  <a:cubicBezTo>
                    <a:pt x="5733" y="2109"/>
                    <a:pt x="5747" y="2101"/>
                    <a:pt x="5762" y="2086"/>
                  </a:cubicBezTo>
                  <a:cubicBezTo>
                    <a:pt x="5755" y="2086"/>
                    <a:pt x="5747" y="2079"/>
                    <a:pt x="5740" y="2079"/>
                  </a:cubicBezTo>
                  <a:cubicBezTo>
                    <a:pt x="5733" y="2049"/>
                    <a:pt x="5777" y="2035"/>
                    <a:pt x="5770" y="2005"/>
                  </a:cubicBezTo>
                  <a:cubicBezTo>
                    <a:pt x="5755" y="1968"/>
                    <a:pt x="5695" y="1968"/>
                    <a:pt x="5658" y="1968"/>
                  </a:cubicBezTo>
                  <a:cubicBezTo>
                    <a:pt x="5658" y="1953"/>
                    <a:pt x="5651" y="1945"/>
                    <a:pt x="5651" y="1930"/>
                  </a:cubicBezTo>
                  <a:cubicBezTo>
                    <a:pt x="5599" y="1930"/>
                    <a:pt x="5599" y="1908"/>
                    <a:pt x="5599" y="1849"/>
                  </a:cubicBezTo>
                  <a:cubicBezTo>
                    <a:pt x="5562" y="1841"/>
                    <a:pt x="5569" y="1797"/>
                    <a:pt x="5540" y="1775"/>
                  </a:cubicBezTo>
                  <a:cubicBezTo>
                    <a:pt x="5502" y="1752"/>
                    <a:pt x="5480" y="1789"/>
                    <a:pt x="5450" y="1804"/>
                  </a:cubicBezTo>
                  <a:cubicBezTo>
                    <a:pt x="5428" y="1775"/>
                    <a:pt x="5458" y="1775"/>
                    <a:pt x="5473" y="1745"/>
                  </a:cubicBezTo>
                  <a:cubicBezTo>
                    <a:pt x="5480" y="1723"/>
                    <a:pt x="5450" y="1708"/>
                    <a:pt x="5458" y="1685"/>
                  </a:cubicBezTo>
                  <a:cubicBezTo>
                    <a:pt x="5517" y="1678"/>
                    <a:pt x="5525" y="1678"/>
                    <a:pt x="5525" y="1611"/>
                  </a:cubicBezTo>
                  <a:cubicBezTo>
                    <a:pt x="5532" y="1559"/>
                    <a:pt x="5510" y="1552"/>
                    <a:pt x="5465" y="1530"/>
                  </a:cubicBezTo>
                  <a:cubicBezTo>
                    <a:pt x="5458" y="1537"/>
                    <a:pt x="5443" y="1544"/>
                    <a:pt x="5435" y="1544"/>
                  </a:cubicBezTo>
                  <a:cubicBezTo>
                    <a:pt x="5428" y="1522"/>
                    <a:pt x="5428" y="1500"/>
                    <a:pt x="5435" y="1485"/>
                  </a:cubicBezTo>
                  <a:cubicBezTo>
                    <a:pt x="5443" y="1463"/>
                    <a:pt x="5465" y="1455"/>
                    <a:pt x="5458" y="1433"/>
                  </a:cubicBezTo>
                  <a:cubicBezTo>
                    <a:pt x="5465" y="1463"/>
                    <a:pt x="5554" y="1411"/>
                    <a:pt x="5562" y="1396"/>
                  </a:cubicBezTo>
                  <a:cubicBezTo>
                    <a:pt x="5584" y="1359"/>
                    <a:pt x="5577" y="1329"/>
                    <a:pt x="5577" y="1299"/>
                  </a:cubicBezTo>
                  <a:cubicBezTo>
                    <a:pt x="5577" y="1270"/>
                    <a:pt x="5584" y="1240"/>
                    <a:pt x="5584" y="1203"/>
                  </a:cubicBezTo>
                  <a:cubicBezTo>
                    <a:pt x="5554" y="1203"/>
                    <a:pt x="5532" y="1225"/>
                    <a:pt x="5510" y="1218"/>
                  </a:cubicBezTo>
                  <a:cubicBezTo>
                    <a:pt x="5510" y="1143"/>
                    <a:pt x="5606" y="1069"/>
                    <a:pt x="5554" y="987"/>
                  </a:cubicBezTo>
                  <a:cubicBezTo>
                    <a:pt x="5532" y="958"/>
                    <a:pt x="5495" y="973"/>
                    <a:pt x="5480" y="936"/>
                  </a:cubicBezTo>
                  <a:cubicBezTo>
                    <a:pt x="5465" y="913"/>
                    <a:pt x="5480" y="883"/>
                    <a:pt x="5473" y="854"/>
                  </a:cubicBezTo>
                  <a:cubicBezTo>
                    <a:pt x="5473" y="831"/>
                    <a:pt x="5465" y="817"/>
                    <a:pt x="5465" y="794"/>
                  </a:cubicBezTo>
                  <a:cubicBezTo>
                    <a:pt x="5488" y="787"/>
                    <a:pt x="5510" y="794"/>
                    <a:pt x="5502" y="824"/>
                  </a:cubicBezTo>
                  <a:cubicBezTo>
                    <a:pt x="5532" y="824"/>
                    <a:pt x="5547" y="787"/>
                    <a:pt x="5569" y="787"/>
                  </a:cubicBezTo>
                  <a:cubicBezTo>
                    <a:pt x="5599" y="779"/>
                    <a:pt x="5621" y="772"/>
                    <a:pt x="5629" y="750"/>
                  </a:cubicBezTo>
                  <a:cubicBezTo>
                    <a:pt x="5643" y="713"/>
                    <a:pt x="5629" y="698"/>
                    <a:pt x="5614" y="690"/>
                  </a:cubicBezTo>
                  <a:cubicBezTo>
                    <a:pt x="5599" y="705"/>
                    <a:pt x="5584" y="713"/>
                    <a:pt x="5554" y="713"/>
                  </a:cubicBezTo>
                  <a:cubicBezTo>
                    <a:pt x="5584" y="713"/>
                    <a:pt x="5599" y="705"/>
                    <a:pt x="5614" y="690"/>
                  </a:cubicBezTo>
                  <a:cubicBezTo>
                    <a:pt x="5599" y="676"/>
                    <a:pt x="5569" y="676"/>
                    <a:pt x="5547" y="668"/>
                  </a:cubicBezTo>
                  <a:cubicBezTo>
                    <a:pt x="5480" y="661"/>
                    <a:pt x="5435" y="609"/>
                    <a:pt x="5413" y="549"/>
                  </a:cubicBezTo>
                  <a:cubicBezTo>
                    <a:pt x="5398" y="520"/>
                    <a:pt x="5361" y="520"/>
                    <a:pt x="5354" y="497"/>
                  </a:cubicBezTo>
                  <a:cubicBezTo>
                    <a:pt x="5324" y="497"/>
                    <a:pt x="5317" y="497"/>
                    <a:pt x="5294" y="475"/>
                  </a:cubicBezTo>
                  <a:cubicBezTo>
                    <a:pt x="5287" y="468"/>
                    <a:pt x="5265" y="482"/>
                    <a:pt x="5257" y="490"/>
                  </a:cubicBezTo>
                  <a:cubicBezTo>
                    <a:pt x="5228" y="520"/>
                    <a:pt x="5213" y="527"/>
                    <a:pt x="5168" y="527"/>
                  </a:cubicBezTo>
                  <a:cubicBezTo>
                    <a:pt x="5124" y="534"/>
                    <a:pt x="5079" y="534"/>
                    <a:pt x="5042" y="520"/>
                  </a:cubicBezTo>
                  <a:cubicBezTo>
                    <a:pt x="4990" y="490"/>
                    <a:pt x="4960" y="482"/>
                    <a:pt x="4901" y="490"/>
                  </a:cubicBezTo>
                  <a:cubicBezTo>
                    <a:pt x="4886" y="490"/>
                    <a:pt x="4797" y="520"/>
                    <a:pt x="4797" y="482"/>
                  </a:cubicBezTo>
                  <a:cubicBezTo>
                    <a:pt x="4797" y="438"/>
                    <a:pt x="4760" y="431"/>
                    <a:pt x="4723" y="431"/>
                  </a:cubicBezTo>
                  <a:cubicBezTo>
                    <a:pt x="4671" y="431"/>
                    <a:pt x="4678" y="393"/>
                    <a:pt x="4648" y="371"/>
                  </a:cubicBezTo>
                  <a:cubicBezTo>
                    <a:pt x="4611" y="341"/>
                    <a:pt x="4604" y="408"/>
                    <a:pt x="4596" y="431"/>
                  </a:cubicBezTo>
                  <a:cubicBezTo>
                    <a:pt x="4582" y="431"/>
                    <a:pt x="4567" y="431"/>
                    <a:pt x="4552" y="431"/>
                  </a:cubicBezTo>
                  <a:cubicBezTo>
                    <a:pt x="4552" y="445"/>
                    <a:pt x="4552" y="453"/>
                    <a:pt x="4552" y="460"/>
                  </a:cubicBezTo>
                  <a:cubicBezTo>
                    <a:pt x="4507" y="460"/>
                    <a:pt x="4463" y="431"/>
                    <a:pt x="4418" y="438"/>
                  </a:cubicBezTo>
                  <a:cubicBezTo>
                    <a:pt x="4418" y="468"/>
                    <a:pt x="4418" y="490"/>
                    <a:pt x="4418" y="520"/>
                  </a:cubicBezTo>
                  <a:cubicBezTo>
                    <a:pt x="4359" y="520"/>
                    <a:pt x="4292" y="557"/>
                    <a:pt x="4233" y="527"/>
                  </a:cubicBezTo>
                  <a:cubicBezTo>
                    <a:pt x="4196" y="512"/>
                    <a:pt x="4166" y="460"/>
                    <a:pt x="4121" y="468"/>
                  </a:cubicBezTo>
                  <a:cubicBezTo>
                    <a:pt x="4114" y="490"/>
                    <a:pt x="4077" y="520"/>
                    <a:pt x="4062" y="482"/>
                  </a:cubicBezTo>
                  <a:cubicBezTo>
                    <a:pt x="4054" y="460"/>
                    <a:pt x="4062" y="438"/>
                    <a:pt x="4062" y="408"/>
                  </a:cubicBezTo>
                  <a:cubicBezTo>
                    <a:pt x="4032" y="401"/>
                    <a:pt x="4039" y="438"/>
                    <a:pt x="4017" y="453"/>
                  </a:cubicBezTo>
                  <a:cubicBezTo>
                    <a:pt x="3995" y="460"/>
                    <a:pt x="3973" y="445"/>
                    <a:pt x="3950" y="438"/>
                  </a:cubicBezTo>
                  <a:cubicBezTo>
                    <a:pt x="3898" y="408"/>
                    <a:pt x="3854" y="460"/>
                    <a:pt x="3846" y="505"/>
                  </a:cubicBezTo>
                  <a:cubicBezTo>
                    <a:pt x="3750" y="505"/>
                    <a:pt x="3668" y="564"/>
                    <a:pt x="3557" y="542"/>
                  </a:cubicBezTo>
                  <a:cubicBezTo>
                    <a:pt x="3520" y="534"/>
                    <a:pt x="3512" y="549"/>
                    <a:pt x="3482" y="512"/>
                  </a:cubicBezTo>
                  <a:cubicBezTo>
                    <a:pt x="3468" y="475"/>
                    <a:pt x="3438" y="534"/>
                    <a:pt x="3438" y="549"/>
                  </a:cubicBezTo>
                  <a:cubicBezTo>
                    <a:pt x="3401" y="542"/>
                    <a:pt x="3394" y="460"/>
                    <a:pt x="3379" y="431"/>
                  </a:cubicBezTo>
                  <a:cubicBezTo>
                    <a:pt x="3408" y="431"/>
                    <a:pt x="3453" y="445"/>
                    <a:pt x="3475" y="431"/>
                  </a:cubicBezTo>
                  <a:cubicBezTo>
                    <a:pt x="3475" y="438"/>
                    <a:pt x="3482" y="453"/>
                    <a:pt x="3482" y="460"/>
                  </a:cubicBezTo>
                  <a:cubicBezTo>
                    <a:pt x="3490" y="445"/>
                    <a:pt x="3505" y="438"/>
                    <a:pt x="3520" y="438"/>
                  </a:cubicBezTo>
                  <a:cubicBezTo>
                    <a:pt x="3475" y="386"/>
                    <a:pt x="3468" y="282"/>
                    <a:pt x="3401" y="267"/>
                  </a:cubicBezTo>
                  <a:cubicBezTo>
                    <a:pt x="3326" y="252"/>
                    <a:pt x="3297" y="282"/>
                    <a:pt x="3260" y="334"/>
                  </a:cubicBezTo>
                  <a:cubicBezTo>
                    <a:pt x="3237" y="334"/>
                    <a:pt x="3208" y="326"/>
                    <a:pt x="3193" y="341"/>
                  </a:cubicBezTo>
                  <a:cubicBezTo>
                    <a:pt x="3193" y="304"/>
                    <a:pt x="3126" y="312"/>
                    <a:pt x="3104" y="319"/>
                  </a:cubicBezTo>
                  <a:cubicBezTo>
                    <a:pt x="3059" y="326"/>
                    <a:pt x="3029" y="356"/>
                    <a:pt x="2978" y="356"/>
                  </a:cubicBezTo>
                  <a:cubicBezTo>
                    <a:pt x="2978" y="386"/>
                    <a:pt x="2970" y="401"/>
                    <a:pt x="2933" y="408"/>
                  </a:cubicBezTo>
                  <a:cubicBezTo>
                    <a:pt x="2940" y="431"/>
                    <a:pt x="2940" y="468"/>
                    <a:pt x="2911" y="482"/>
                  </a:cubicBezTo>
                  <a:cubicBezTo>
                    <a:pt x="2896" y="490"/>
                    <a:pt x="2881" y="490"/>
                    <a:pt x="2881" y="512"/>
                  </a:cubicBezTo>
                  <a:cubicBezTo>
                    <a:pt x="2844" y="512"/>
                    <a:pt x="2822" y="549"/>
                    <a:pt x="2807" y="571"/>
                  </a:cubicBezTo>
                  <a:cubicBezTo>
                    <a:pt x="2836" y="586"/>
                    <a:pt x="2851" y="594"/>
                    <a:pt x="2844" y="631"/>
                  </a:cubicBezTo>
                  <a:cubicBezTo>
                    <a:pt x="2822" y="624"/>
                    <a:pt x="2807" y="653"/>
                    <a:pt x="2784" y="661"/>
                  </a:cubicBezTo>
                  <a:cubicBezTo>
                    <a:pt x="2762" y="668"/>
                    <a:pt x="2732" y="653"/>
                    <a:pt x="2710" y="653"/>
                  </a:cubicBezTo>
                  <a:cubicBezTo>
                    <a:pt x="2703" y="676"/>
                    <a:pt x="2718" y="713"/>
                    <a:pt x="2688" y="713"/>
                  </a:cubicBezTo>
                  <a:cubicBezTo>
                    <a:pt x="2666" y="720"/>
                    <a:pt x="2643" y="713"/>
                    <a:pt x="2621" y="713"/>
                  </a:cubicBezTo>
                  <a:cubicBezTo>
                    <a:pt x="2591" y="713"/>
                    <a:pt x="2502" y="728"/>
                    <a:pt x="2502" y="683"/>
                  </a:cubicBezTo>
                  <a:cubicBezTo>
                    <a:pt x="2502" y="683"/>
                    <a:pt x="2502" y="683"/>
                    <a:pt x="2510" y="683"/>
                  </a:cubicBezTo>
                  <a:cubicBezTo>
                    <a:pt x="2524" y="646"/>
                    <a:pt x="2517" y="534"/>
                    <a:pt x="2480" y="520"/>
                  </a:cubicBezTo>
                  <a:cubicBezTo>
                    <a:pt x="2458" y="512"/>
                    <a:pt x="2421" y="512"/>
                    <a:pt x="2413" y="497"/>
                  </a:cubicBezTo>
                  <a:cubicBezTo>
                    <a:pt x="2391" y="460"/>
                    <a:pt x="2369" y="468"/>
                    <a:pt x="2332" y="468"/>
                  </a:cubicBezTo>
                  <a:cubicBezTo>
                    <a:pt x="2257" y="460"/>
                    <a:pt x="2168" y="497"/>
                    <a:pt x="2101" y="468"/>
                  </a:cubicBezTo>
                  <a:cubicBezTo>
                    <a:pt x="2064" y="445"/>
                    <a:pt x="2042" y="453"/>
                    <a:pt x="2005" y="460"/>
                  </a:cubicBezTo>
                  <a:cubicBezTo>
                    <a:pt x="1975" y="468"/>
                    <a:pt x="1953" y="445"/>
                    <a:pt x="1916" y="445"/>
                  </a:cubicBezTo>
                  <a:cubicBezTo>
                    <a:pt x="1849" y="453"/>
                    <a:pt x="1834" y="416"/>
                    <a:pt x="1804" y="356"/>
                  </a:cubicBezTo>
                  <a:cubicBezTo>
                    <a:pt x="1775" y="289"/>
                    <a:pt x="1745" y="267"/>
                    <a:pt x="1670" y="260"/>
                  </a:cubicBezTo>
                  <a:cubicBezTo>
                    <a:pt x="1611" y="252"/>
                    <a:pt x="1522" y="304"/>
                    <a:pt x="1470" y="252"/>
                  </a:cubicBezTo>
                  <a:cubicBezTo>
                    <a:pt x="1418" y="200"/>
                    <a:pt x="1425" y="134"/>
                    <a:pt x="1418" y="67"/>
                  </a:cubicBezTo>
                  <a:cubicBezTo>
                    <a:pt x="1418" y="74"/>
                    <a:pt x="1344" y="0"/>
                    <a:pt x="1336" y="0"/>
                  </a:cubicBezTo>
                  <a:cubicBezTo>
                    <a:pt x="1285" y="0"/>
                    <a:pt x="1299" y="81"/>
                    <a:pt x="1225" y="59"/>
                  </a:cubicBezTo>
                  <a:cubicBezTo>
                    <a:pt x="1203" y="52"/>
                    <a:pt x="1180" y="37"/>
                    <a:pt x="1158" y="29"/>
                  </a:cubicBezTo>
                  <a:cubicBezTo>
                    <a:pt x="1158" y="37"/>
                    <a:pt x="1166" y="37"/>
                    <a:pt x="1166" y="37"/>
                  </a:cubicBezTo>
                  <a:cubicBezTo>
                    <a:pt x="1166" y="37"/>
                    <a:pt x="1158" y="37"/>
                    <a:pt x="1158" y="29"/>
                  </a:cubicBezTo>
                  <a:lnTo>
                    <a:pt x="1151" y="29"/>
                  </a:lnTo>
                  <a:cubicBezTo>
                    <a:pt x="1128" y="37"/>
                    <a:pt x="1114" y="52"/>
                    <a:pt x="1099" y="52"/>
                  </a:cubicBezTo>
                  <a:cubicBezTo>
                    <a:pt x="1084" y="52"/>
                    <a:pt x="1069" y="59"/>
                    <a:pt x="1054" y="59"/>
                  </a:cubicBezTo>
                  <a:cubicBezTo>
                    <a:pt x="1017" y="67"/>
                    <a:pt x="1017" y="104"/>
                    <a:pt x="995" y="111"/>
                  </a:cubicBezTo>
                  <a:cubicBezTo>
                    <a:pt x="972" y="119"/>
                    <a:pt x="950" y="111"/>
                    <a:pt x="928" y="111"/>
                  </a:cubicBezTo>
                  <a:cubicBezTo>
                    <a:pt x="913" y="141"/>
                    <a:pt x="943" y="141"/>
                    <a:pt x="965" y="148"/>
                  </a:cubicBezTo>
                  <a:cubicBezTo>
                    <a:pt x="965" y="171"/>
                    <a:pt x="965" y="185"/>
                    <a:pt x="965" y="208"/>
                  </a:cubicBezTo>
                  <a:cubicBezTo>
                    <a:pt x="950" y="208"/>
                    <a:pt x="928" y="245"/>
                    <a:pt x="928" y="260"/>
                  </a:cubicBezTo>
                  <a:cubicBezTo>
                    <a:pt x="987" y="260"/>
                    <a:pt x="950" y="401"/>
                    <a:pt x="1047" y="319"/>
                  </a:cubicBezTo>
                  <a:cubicBezTo>
                    <a:pt x="1106" y="260"/>
                    <a:pt x="1225" y="319"/>
                    <a:pt x="1270" y="364"/>
                  </a:cubicBezTo>
                  <a:cubicBezTo>
                    <a:pt x="1247" y="356"/>
                    <a:pt x="1225" y="379"/>
                    <a:pt x="1203" y="379"/>
                  </a:cubicBezTo>
                  <a:cubicBezTo>
                    <a:pt x="1173" y="379"/>
                    <a:pt x="1151" y="364"/>
                    <a:pt x="1121" y="371"/>
                  </a:cubicBezTo>
                  <a:cubicBezTo>
                    <a:pt x="1114" y="379"/>
                    <a:pt x="1106" y="393"/>
                    <a:pt x="1099" y="401"/>
                  </a:cubicBezTo>
                  <a:cubicBezTo>
                    <a:pt x="1077" y="416"/>
                    <a:pt x="1054" y="416"/>
                    <a:pt x="1032" y="416"/>
                  </a:cubicBezTo>
                  <a:cubicBezTo>
                    <a:pt x="1032" y="423"/>
                    <a:pt x="1025" y="438"/>
                    <a:pt x="1025" y="453"/>
                  </a:cubicBezTo>
                  <a:cubicBezTo>
                    <a:pt x="995" y="460"/>
                    <a:pt x="935" y="445"/>
                    <a:pt x="913" y="482"/>
                  </a:cubicBezTo>
                  <a:cubicBezTo>
                    <a:pt x="898" y="505"/>
                    <a:pt x="913" y="542"/>
                    <a:pt x="883" y="549"/>
                  </a:cubicBezTo>
                  <a:cubicBezTo>
                    <a:pt x="861" y="557"/>
                    <a:pt x="846" y="571"/>
                    <a:pt x="824" y="571"/>
                  </a:cubicBezTo>
                  <a:cubicBezTo>
                    <a:pt x="794" y="586"/>
                    <a:pt x="765" y="571"/>
                    <a:pt x="727" y="571"/>
                  </a:cubicBezTo>
                  <a:cubicBezTo>
                    <a:pt x="727" y="571"/>
                    <a:pt x="735" y="594"/>
                    <a:pt x="735" y="601"/>
                  </a:cubicBezTo>
                  <a:cubicBezTo>
                    <a:pt x="742" y="609"/>
                    <a:pt x="772" y="609"/>
                    <a:pt x="780" y="609"/>
                  </a:cubicBezTo>
                  <a:cubicBezTo>
                    <a:pt x="831" y="609"/>
                    <a:pt x="831" y="631"/>
                    <a:pt x="869" y="661"/>
                  </a:cubicBezTo>
                  <a:cubicBezTo>
                    <a:pt x="935" y="720"/>
                    <a:pt x="950" y="779"/>
                    <a:pt x="943" y="869"/>
                  </a:cubicBezTo>
                  <a:cubicBezTo>
                    <a:pt x="928" y="869"/>
                    <a:pt x="854" y="869"/>
                    <a:pt x="854" y="883"/>
                  </a:cubicBezTo>
                  <a:cubicBezTo>
                    <a:pt x="846" y="898"/>
                    <a:pt x="869" y="913"/>
                    <a:pt x="869" y="928"/>
                  </a:cubicBezTo>
                  <a:cubicBezTo>
                    <a:pt x="869" y="987"/>
                    <a:pt x="780" y="943"/>
                    <a:pt x="765" y="995"/>
                  </a:cubicBezTo>
                  <a:cubicBezTo>
                    <a:pt x="750" y="973"/>
                    <a:pt x="742" y="958"/>
                    <a:pt x="713" y="965"/>
                  </a:cubicBezTo>
                  <a:cubicBezTo>
                    <a:pt x="713" y="943"/>
                    <a:pt x="713" y="928"/>
                    <a:pt x="713" y="913"/>
                  </a:cubicBezTo>
                  <a:cubicBezTo>
                    <a:pt x="683" y="906"/>
                    <a:pt x="653" y="913"/>
                    <a:pt x="631" y="891"/>
                  </a:cubicBezTo>
                  <a:cubicBezTo>
                    <a:pt x="609" y="869"/>
                    <a:pt x="616" y="846"/>
                    <a:pt x="579" y="854"/>
                  </a:cubicBezTo>
                  <a:cubicBezTo>
                    <a:pt x="579" y="869"/>
                    <a:pt x="564" y="883"/>
                    <a:pt x="557" y="906"/>
                  </a:cubicBezTo>
                  <a:cubicBezTo>
                    <a:pt x="623" y="913"/>
                    <a:pt x="579" y="1017"/>
                    <a:pt x="564" y="1047"/>
                  </a:cubicBezTo>
                  <a:cubicBezTo>
                    <a:pt x="557" y="1076"/>
                    <a:pt x="579" y="1121"/>
                    <a:pt x="549" y="1136"/>
                  </a:cubicBezTo>
                  <a:cubicBezTo>
                    <a:pt x="520" y="1151"/>
                    <a:pt x="527" y="1210"/>
                    <a:pt x="527" y="1240"/>
                  </a:cubicBezTo>
                  <a:cubicBezTo>
                    <a:pt x="505" y="1240"/>
                    <a:pt x="490" y="1240"/>
                    <a:pt x="475" y="1240"/>
                  </a:cubicBezTo>
                  <a:cubicBezTo>
                    <a:pt x="468" y="1240"/>
                    <a:pt x="460" y="1262"/>
                    <a:pt x="453" y="1262"/>
                  </a:cubicBezTo>
                  <a:cubicBezTo>
                    <a:pt x="430" y="1270"/>
                    <a:pt x="408" y="1255"/>
                    <a:pt x="386" y="1262"/>
                  </a:cubicBezTo>
                  <a:cubicBezTo>
                    <a:pt x="386" y="1284"/>
                    <a:pt x="386" y="1307"/>
                    <a:pt x="386" y="1322"/>
                  </a:cubicBezTo>
                  <a:cubicBezTo>
                    <a:pt x="230" y="1329"/>
                    <a:pt x="215" y="1463"/>
                    <a:pt x="170" y="1247"/>
                  </a:cubicBezTo>
                  <a:cubicBezTo>
                    <a:pt x="163" y="1218"/>
                    <a:pt x="163" y="1121"/>
                    <a:pt x="178" y="1069"/>
                  </a:cubicBezTo>
                  <a:cubicBezTo>
                    <a:pt x="178" y="1069"/>
                    <a:pt x="170" y="1069"/>
                    <a:pt x="163" y="1069"/>
                  </a:cubicBezTo>
                  <a:cubicBezTo>
                    <a:pt x="163" y="1076"/>
                    <a:pt x="163" y="1084"/>
                    <a:pt x="156" y="1091"/>
                  </a:cubicBezTo>
                  <a:cubicBezTo>
                    <a:pt x="141" y="1114"/>
                    <a:pt x="96" y="1099"/>
                    <a:pt x="89" y="1121"/>
                  </a:cubicBezTo>
                  <a:cubicBezTo>
                    <a:pt x="81" y="1136"/>
                    <a:pt x="111" y="1158"/>
                    <a:pt x="104" y="1181"/>
                  </a:cubicBezTo>
                  <a:cubicBezTo>
                    <a:pt x="96" y="1218"/>
                    <a:pt x="74" y="1195"/>
                    <a:pt x="59" y="1225"/>
                  </a:cubicBezTo>
                  <a:cubicBezTo>
                    <a:pt x="37" y="1270"/>
                    <a:pt x="104" y="1299"/>
                    <a:pt x="96" y="1344"/>
                  </a:cubicBezTo>
                  <a:cubicBezTo>
                    <a:pt x="89" y="1329"/>
                    <a:pt x="74" y="1329"/>
                    <a:pt x="74" y="1307"/>
                  </a:cubicBezTo>
                  <a:cubicBezTo>
                    <a:pt x="59" y="1307"/>
                    <a:pt x="44" y="1307"/>
                    <a:pt x="37" y="1307"/>
                  </a:cubicBezTo>
                  <a:cubicBezTo>
                    <a:pt x="22" y="1329"/>
                    <a:pt x="29" y="1336"/>
                    <a:pt x="37" y="1359"/>
                  </a:cubicBezTo>
                  <a:cubicBezTo>
                    <a:pt x="44" y="1359"/>
                    <a:pt x="74" y="1396"/>
                    <a:pt x="67" y="1396"/>
                  </a:cubicBezTo>
                  <a:cubicBezTo>
                    <a:pt x="59" y="1403"/>
                    <a:pt x="44" y="1403"/>
                    <a:pt x="37" y="1403"/>
                  </a:cubicBezTo>
                  <a:cubicBezTo>
                    <a:pt x="37" y="1440"/>
                    <a:pt x="15" y="1470"/>
                    <a:pt x="22" y="1507"/>
                  </a:cubicBezTo>
                  <a:cubicBezTo>
                    <a:pt x="74" y="1500"/>
                    <a:pt x="0" y="1641"/>
                    <a:pt x="22" y="1641"/>
                  </a:cubicBezTo>
                  <a:cubicBezTo>
                    <a:pt x="37" y="1641"/>
                    <a:pt x="52" y="1641"/>
                    <a:pt x="67" y="1641"/>
                  </a:cubicBezTo>
                  <a:cubicBezTo>
                    <a:pt x="67" y="1626"/>
                    <a:pt x="59" y="1589"/>
                    <a:pt x="81" y="1589"/>
                  </a:cubicBezTo>
                  <a:cubicBezTo>
                    <a:pt x="89" y="1589"/>
                    <a:pt x="111" y="1626"/>
                    <a:pt x="126" y="1633"/>
                  </a:cubicBezTo>
                  <a:cubicBezTo>
                    <a:pt x="104" y="1656"/>
                    <a:pt x="52" y="1648"/>
                    <a:pt x="44" y="1685"/>
                  </a:cubicBezTo>
                  <a:cubicBezTo>
                    <a:pt x="37" y="1708"/>
                    <a:pt x="52" y="1708"/>
                    <a:pt x="59" y="1723"/>
                  </a:cubicBezTo>
                  <a:cubicBezTo>
                    <a:pt x="59" y="1745"/>
                    <a:pt x="59" y="1767"/>
                    <a:pt x="59" y="1782"/>
                  </a:cubicBezTo>
                  <a:cubicBezTo>
                    <a:pt x="89" y="1789"/>
                    <a:pt x="118" y="1782"/>
                    <a:pt x="148" y="1789"/>
                  </a:cubicBezTo>
                  <a:cubicBezTo>
                    <a:pt x="118" y="1804"/>
                    <a:pt x="59" y="1782"/>
                    <a:pt x="44" y="1819"/>
                  </a:cubicBezTo>
                  <a:cubicBezTo>
                    <a:pt x="44" y="1834"/>
                    <a:pt x="52" y="1908"/>
                    <a:pt x="67" y="1916"/>
                  </a:cubicBezTo>
                  <a:cubicBezTo>
                    <a:pt x="67" y="1930"/>
                    <a:pt x="67" y="1945"/>
                    <a:pt x="67" y="1960"/>
                  </a:cubicBezTo>
                  <a:cubicBezTo>
                    <a:pt x="37" y="1968"/>
                    <a:pt x="67" y="1990"/>
                    <a:pt x="59" y="2005"/>
                  </a:cubicBezTo>
                  <a:cubicBezTo>
                    <a:pt x="37" y="2012"/>
                    <a:pt x="37" y="2079"/>
                    <a:pt x="67" y="2072"/>
                  </a:cubicBezTo>
                  <a:cubicBezTo>
                    <a:pt x="81" y="2049"/>
                    <a:pt x="96" y="2027"/>
                    <a:pt x="104" y="1997"/>
                  </a:cubicBezTo>
                  <a:cubicBezTo>
                    <a:pt x="118" y="1997"/>
                    <a:pt x="141" y="1997"/>
                    <a:pt x="163" y="1997"/>
                  </a:cubicBezTo>
                  <a:cubicBezTo>
                    <a:pt x="170" y="1975"/>
                    <a:pt x="156" y="1908"/>
                    <a:pt x="185" y="1916"/>
                  </a:cubicBezTo>
                  <a:cubicBezTo>
                    <a:pt x="185" y="1938"/>
                    <a:pt x="193" y="1945"/>
                    <a:pt x="200" y="1968"/>
                  </a:cubicBezTo>
                  <a:cubicBezTo>
                    <a:pt x="200" y="1983"/>
                    <a:pt x="200" y="2005"/>
                    <a:pt x="193" y="2020"/>
                  </a:cubicBezTo>
                  <a:cubicBezTo>
                    <a:pt x="178" y="2020"/>
                    <a:pt x="156" y="2012"/>
                    <a:pt x="148" y="2020"/>
                  </a:cubicBezTo>
                  <a:cubicBezTo>
                    <a:pt x="126" y="2027"/>
                    <a:pt x="141" y="2035"/>
                    <a:pt x="126" y="2042"/>
                  </a:cubicBezTo>
                  <a:cubicBezTo>
                    <a:pt x="118" y="2057"/>
                    <a:pt x="74" y="2094"/>
                    <a:pt x="111" y="2109"/>
                  </a:cubicBezTo>
                  <a:cubicBezTo>
                    <a:pt x="111" y="2116"/>
                    <a:pt x="118" y="2124"/>
                    <a:pt x="111" y="2131"/>
                  </a:cubicBezTo>
                  <a:cubicBezTo>
                    <a:pt x="133" y="2138"/>
                    <a:pt x="148" y="2131"/>
                    <a:pt x="163" y="2131"/>
                  </a:cubicBezTo>
                  <a:cubicBezTo>
                    <a:pt x="170" y="2138"/>
                    <a:pt x="178" y="2153"/>
                    <a:pt x="185" y="2161"/>
                  </a:cubicBezTo>
                  <a:cubicBezTo>
                    <a:pt x="170" y="2175"/>
                    <a:pt x="133" y="2168"/>
                    <a:pt x="111" y="2161"/>
                  </a:cubicBezTo>
                  <a:lnTo>
                    <a:pt x="111" y="2153"/>
                  </a:lnTo>
                  <a:cubicBezTo>
                    <a:pt x="44" y="2138"/>
                    <a:pt x="44" y="2228"/>
                    <a:pt x="59" y="2265"/>
                  </a:cubicBezTo>
                  <a:cubicBezTo>
                    <a:pt x="67" y="2272"/>
                    <a:pt x="81" y="2280"/>
                    <a:pt x="81" y="2287"/>
                  </a:cubicBezTo>
                  <a:cubicBezTo>
                    <a:pt x="89" y="2302"/>
                    <a:pt x="89" y="2309"/>
                    <a:pt x="89" y="2324"/>
                  </a:cubicBezTo>
                  <a:cubicBezTo>
                    <a:pt x="96" y="2346"/>
                    <a:pt x="111" y="2369"/>
                    <a:pt x="126" y="2383"/>
                  </a:cubicBezTo>
                  <a:cubicBezTo>
                    <a:pt x="118" y="2383"/>
                    <a:pt x="111" y="2383"/>
                    <a:pt x="104" y="2383"/>
                  </a:cubicBezTo>
                  <a:cubicBezTo>
                    <a:pt x="104" y="2376"/>
                    <a:pt x="104" y="2376"/>
                    <a:pt x="104" y="2369"/>
                  </a:cubicBezTo>
                  <a:cubicBezTo>
                    <a:pt x="96" y="2369"/>
                    <a:pt x="89" y="2369"/>
                    <a:pt x="89" y="2369"/>
                  </a:cubicBezTo>
                  <a:cubicBezTo>
                    <a:pt x="74" y="2406"/>
                    <a:pt x="74" y="2450"/>
                    <a:pt x="81" y="2480"/>
                  </a:cubicBezTo>
                  <a:cubicBezTo>
                    <a:pt x="89" y="2487"/>
                    <a:pt x="96" y="2495"/>
                    <a:pt x="111" y="2495"/>
                  </a:cubicBezTo>
                  <a:cubicBezTo>
                    <a:pt x="111" y="2517"/>
                    <a:pt x="111" y="2540"/>
                    <a:pt x="96" y="2547"/>
                  </a:cubicBezTo>
                  <a:cubicBezTo>
                    <a:pt x="111" y="2554"/>
                    <a:pt x="126" y="2554"/>
                    <a:pt x="141" y="2554"/>
                  </a:cubicBezTo>
                  <a:cubicBezTo>
                    <a:pt x="141" y="2540"/>
                    <a:pt x="156" y="2525"/>
                    <a:pt x="170" y="2532"/>
                  </a:cubicBezTo>
                  <a:cubicBezTo>
                    <a:pt x="163" y="2554"/>
                    <a:pt x="170" y="2577"/>
                    <a:pt x="163" y="2591"/>
                  </a:cubicBezTo>
                  <a:cubicBezTo>
                    <a:pt x="163" y="2554"/>
                    <a:pt x="111" y="2562"/>
                    <a:pt x="81" y="2562"/>
                  </a:cubicBezTo>
                  <a:cubicBezTo>
                    <a:pt x="74" y="2606"/>
                    <a:pt x="104" y="2606"/>
                    <a:pt x="126" y="2621"/>
                  </a:cubicBezTo>
                  <a:cubicBezTo>
                    <a:pt x="133" y="2651"/>
                    <a:pt x="111" y="2673"/>
                    <a:pt x="96" y="2695"/>
                  </a:cubicBezTo>
                  <a:cubicBezTo>
                    <a:pt x="111" y="2695"/>
                    <a:pt x="111" y="2695"/>
                    <a:pt x="118" y="2695"/>
                  </a:cubicBezTo>
                  <a:cubicBezTo>
                    <a:pt x="118" y="2725"/>
                    <a:pt x="126" y="2785"/>
                    <a:pt x="170" y="2777"/>
                  </a:cubicBezTo>
                  <a:cubicBezTo>
                    <a:pt x="104" y="2792"/>
                    <a:pt x="148" y="2859"/>
                    <a:pt x="170" y="2896"/>
                  </a:cubicBezTo>
                  <a:cubicBezTo>
                    <a:pt x="208" y="2948"/>
                    <a:pt x="178" y="3000"/>
                    <a:pt x="185" y="3059"/>
                  </a:cubicBezTo>
                  <a:cubicBezTo>
                    <a:pt x="200" y="3059"/>
                    <a:pt x="215" y="3059"/>
                    <a:pt x="230" y="3067"/>
                  </a:cubicBezTo>
                  <a:cubicBezTo>
                    <a:pt x="215" y="3082"/>
                    <a:pt x="200" y="3082"/>
                    <a:pt x="185" y="3089"/>
                  </a:cubicBezTo>
                  <a:cubicBezTo>
                    <a:pt x="200" y="3141"/>
                    <a:pt x="237" y="3230"/>
                    <a:pt x="193" y="3275"/>
                  </a:cubicBezTo>
                  <a:cubicBezTo>
                    <a:pt x="208" y="3275"/>
                    <a:pt x="223" y="3275"/>
                    <a:pt x="237" y="3282"/>
                  </a:cubicBezTo>
                  <a:cubicBezTo>
                    <a:pt x="237" y="3304"/>
                    <a:pt x="215" y="3297"/>
                    <a:pt x="215" y="3312"/>
                  </a:cubicBezTo>
                  <a:cubicBezTo>
                    <a:pt x="208" y="3319"/>
                    <a:pt x="215" y="3342"/>
                    <a:pt x="215" y="3356"/>
                  </a:cubicBezTo>
                  <a:cubicBezTo>
                    <a:pt x="230" y="3364"/>
                    <a:pt x="252" y="3371"/>
                    <a:pt x="245" y="3401"/>
                  </a:cubicBezTo>
                  <a:cubicBezTo>
                    <a:pt x="223" y="3393"/>
                    <a:pt x="215" y="3416"/>
                    <a:pt x="223" y="3431"/>
                  </a:cubicBezTo>
                  <a:cubicBezTo>
                    <a:pt x="260" y="3431"/>
                    <a:pt x="230" y="3497"/>
                    <a:pt x="230" y="3527"/>
                  </a:cubicBezTo>
                  <a:cubicBezTo>
                    <a:pt x="245" y="3527"/>
                    <a:pt x="252" y="3535"/>
                    <a:pt x="260" y="3535"/>
                  </a:cubicBezTo>
                  <a:cubicBezTo>
                    <a:pt x="267" y="3557"/>
                    <a:pt x="245" y="3557"/>
                    <a:pt x="223" y="3557"/>
                  </a:cubicBezTo>
                  <a:cubicBezTo>
                    <a:pt x="252" y="3594"/>
                    <a:pt x="245" y="3683"/>
                    <a:pt x="245" y="3728"/>
                  </a:cubicBezTo>
                  <a:cubicBezTo>
                    <a:pt x="245" y="3750"/>
                    <a:pt x="237" y="3780"/>
                    <a:pt x="237" y="3809"/>
                  </a:cubicBezTo>
                  <a:cubicBezTo>
                    <a:pt x="237" y="3839"/>
                    <a:pt x="252" y="3869"/>
                    <a:pt x="260" y="3898"/>
                  </a:cubicBezTo>
                  <a:cubicBezTo>
                    <a:pt x="260" y="3928"/>
                    <a:pt x="252" y="3958"/>
                    <a:pt x="267" y="3987"/>
                  </a:cubicBezTo>
                  <a:cubicBezTo>
                    <a:pt x="282" y="4017"/>
                    <a:pt x="282" y="4039"/>
                    <a:pt x="289" y="4077"/>
                  </a:cubicBezTo>
                  <a:cubicBezTo>
                    <a:pt x="289" y="4092"/>
                    <a:pt x="282" y="4114"/>
                    <a:pt x="289" y="4129"/>
                  </a:cubicBezTo>
                  <a:cubicBezTo>
                    <a:pt x="289" y="4144"/>
                    <a:pt x="312" y="4151"/>
                    <a:pt x="312" y="4166"/>
                  </a:cubicBezTo>
                  <a:cubicBezTo>
                    <a:pt x="312" y="4188"/>
                    <a:pt x="289" y="4203"/>
                    <a:pt x="275" y="4218"/>
                  </a:cubicBezTo>
                  <a:cubicBezTo>
                    <a:pt x="275" y="4240"/>
                    <a:pt x="297" y="4247"/>
                    <a:pt x="312" y="4262"/>
                  </a:cubicBezTo>
                  <a:cubicBezTo>
                    <a:pt x="326" y="4270"/>
                    <a:pt x="341" y="4292"/>
                    <a:pt x="356" y="4307"/>
                  </a:cubicBezTo>
                  <a:cubicBezTo>
                    <a:pt x="378" y="4344"/>
                    <a:pt x="378" y="4389"/>
                    <a:pt x="401" y="4433"/>
                  </a:cubicBezTo>
                  <a:cubicBezTo>
                    <a:pt x="408" y="4448"/>
                    <a:pt x="408" y="4463"/>
                    <a:pt x="415" y="4470"/>
                  </a:cubicBezTo>
                  <a:cubicBezTo>
                    <a:pt x="438" y="4470"/>
                    <a:pt x="453" y="4478"/>
                    <a:pt x="475" y="4470"/>
                  </a:cubicBezTo>
                </a:path>
              </a:pathLst>
            </a:custGeom>
            <a:grpFill/>
            <a:ln w="6350" cap="flat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lIns="60927" tIns="30463" rIns="60927" bIns="30463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6" name="Freeform 8"/>
            <p:cNvSpPr>
              <a:spLocks noChangeArrowheads="1"/>
            </p:cNvSpPr>
            <p:nvPr/>
          </p:nvSpPr>
          <p:spPr bwMode="auto">
            <a:xfrm>
              <a:off x="8528547" y="5133583"/>
              <a:ext cx="2520215" cy="2255636"/>
            </a:xfrm>
            <a:custGeom>
              <a:avLst/>
              <a:gdLst>
                <a:gd name="T0" fmla="*/ 1181 w 5830"/>
                <a:gd name="T1" fmla="*/ 3906 h 5221"/>
                <a:gd name="T2" fmla="*/ 1485 w 5830"/>
                <a:gd name="T3" fmla="*/ 3921 h 5221"/>
                <a:gd name="T4" fmla="*/ 1693 w 5830"/>
                <a:gd name="T5" fmla="*/ 3884 h 5221"/>
                <a:gd name="T6" fmla="*/ 1908 w 5830"/>
                <a:gd name="T7" fmla="*/ 4121 h 5221"/>
                <a:gd name="T8" fmla="*/ 2213 w 5830"/>
                <a:gd name="T9" fmla="*/ 4225 h 5221"/>
                <a:gd name="T10" fmla="*/ 2413 w 5830"/>
                <a:gd name="T11" fmla="*/ 4233 h 5221"/>
                <a:gd name="T12" fmla="*/ 2532 w 5830"/>
                <a:gd name="T13" fmla="*/ 4530 h 5221"/>
                <a:gd name="T14" fmla="*/ 2614 w 5830"/>
                <a:gd name="T15" fmla="*/ 4938 h 5221"/>
                <a:gd name="T16" fmla="*/ 2896 w 5830"/>
                <a:gd name="T17" fmla="*/ 5035 h 5221"/>
                <a:gd name="T18" fmla="*/ 3037 w 5830"/>
                <a:gd name="T19" fmla="*/ 5220 h 5221"/>
                <a:gd name="T20" fmla="*/ 3186 w 5830"/>
                <a:gd name="T21" fmla="*/ 5042 h 5221"/>
                <a:gd name="T22" fmla="*/ 3468 w 5830"/>
                <a:gd name="T23" fmla="*/ 4649 h 5221"/>
                <a:gd name="T24" fmla="*/ 3371 w 5830"/>
                <a:gd name="T25" fmla="*/ 4374 h 5221"/>
                <a:gd name="T26" fmla="*/ 3371 w 5830"/>
                <a:gd name="T27" fmla="*/ 4121 h 5221"/>
                <a:gd name="T28" fmla="*/ 3542 w 5830"/>
                <a:gd name="T29" fmla="*/ 4055 h 5221"/>
                <a:gd name="T30" fmla="*/ 3653 w 5830"/>
                <a:gd name="T31" fmla="*/ 3817 h 5221"/>
                <a:gd name="T32" fmla="*/ 3735 w 5830"/>
                <a:gd name="T33" fmla="*/ 4047 h 5221"/>
                <a:gd name="T34" fmla="*/ 4114 w 5830"/>
                <a:gd name="T35" fmla="*/ 4166 h 5221"/>
                <a:gd name="T36" fmla="*/ 4092 w 5830"/>
                <a:gd name="T37" fmla="*/ 4396 h 5221"/>
                <a:gd name="T38" fmla="*/ 3928 w 5830"/>
                <a:gd name="T39" fmla="*/ 4567 h 5221"/>
                <a:gd name="T40" fmla="*/ 4144 w 5830"/>
                <a:gd name="T41" fmla="*/ 4693 h 5221"/>
                <a:gd name="T42" fmla="*/ 4307 w 5830"/>
                <a:gd name="T43" fmla="*/ 4433 h 5221"/>
                <a:gd name="T44" fmla="*/ 4656 w 5830"/>
                <a:gd name="T45" fmla="*/ 4441 h 5221"/>
                <a:gd name="T46" fmla="*/ 4782 w 5830"/>
                <a:gd name="T47" fmla="*/ 4560 h 5221"/>
                <a:gd name="T48" fmla="*/ 4975 w 5830"/>
                <a:gd name="T49" fmla="*/ 4196 h 5221"/>
                <a:gd name="T50" fmla="*/ 4849 w 5830"/>
                <a:gd name="T51" fmla="*/ 3928 h 5221"/>
                <a:gd name="T52" fmla="*/ 5139 w 5830"/>
                <a:gd name="T53" fmla="*/ 3854 h 5221"/>
                <a:gd name="T54" fmla="*/ 5094 w 5830"/>
                <a:gd name="T55" fmla="*/ 3683 h 5221"/>
                <a:gd name="T56" fmla="*/ 4663 w 5830"/>
                <a:gd name="T57" fmla="*/ 3565 h 5221"/>
                <a:gd name="T58" fmla="*/ 4968 w 5830"/>
                <a:gd name="T59" fmla="*/ 3060 h 5221"/>
                <a:gd name="T60" fmla="*/ 5391 w 5830"/>
                <a:gd name="T61" fmla="*/ 2859 h 5221"/>
                <a:gd name="T62" fmla="*/ 5770 w 5830"/>
                <a:gd name="T63" fmla="*/ 2658 h 5221"/>
                <a:gd name="T64" fmla="*/ 5748 w 5830"/>
                <a:gd name="T65" fmla="*/ 2525 h 5221"/>
                <a:gd name="T66" fmla="*/ 5569 w 5830"/>
                <a:gd name="T67" fmla="*/ 2555 h 5221"/>
                <a:gd name="T68" fmla="*/ 5339 w 5830"/>
                <a:gd name="T69" fmla="*/ 2525 h 5221"/>
                <a:gd name="T70" fmla="*/ 5384 w 5830"/>
                <a:gd name="T71" fmla="*/ 2428 h 5221"/>
                <a:gd name="T72" fmla="*/ 5428 w 5830"/>
                <a:gd name="T73" fmla="*/ 2228 h 5221"/>
                <a:gd name="T74" fmla="*/ 5295 w 5830"/>
                <a:gd name="T75" fmla="*/ 1804 h 5221"/>
                <a:gd name="T76" fmla="*/ 4997 w 5830"/>
                <a:gd name="T77" fmla="*/ 1983 h 5221"/>
                <a:gd name="T78" fmla="*/ 4908 w 5830"/>
                <a:gd name="T79" fmla="*/ 1582 h 5221"/>
                <a:gd name="T80" fmla="*/ 4567 w 5830"/>
                <a:gd name="T81" fmla="*/ 1582 h 5221"/>
                <a:gd name="T82" fmla="*/ 4493 w 5830"/>
                <a:gd name="T83" fmla="*/ 1723 h 5221"/>
                <a:gd name="T84" fmla="*/ 4403 w 5830"/>
                <a:gd name="T85" fmla="*/ 1552 h 5221"/>
                <a:gd name="T86" fmla="*/ 4106 w 5830"/>
                <a:gd name="T87" fmla="*/ 1196 h 5221"/>
                <a:gd name="T88" fmla="*/ 3995 w 5830"/>
                <a:gd name="T89" fmla="*/ 743 h 5221"/>
                <a:gd name="T90" fmla="*/ 3765 w 5830"/>
                <a:gd name="T91" fmla="*/ 654 h 5221"/>
                <a:gd name="T92" fmla="*/ 3453 w 5830"/>
                <a:gd name="T93" fmla="*/ 564 h 5221"/>
                <a:gd name="T94" fmla="*/ 3483 w 5830"/>
                <a:gd name="T95" fmla="*/ 357 h 5221"/>
                <a:gd name="T96" fmla="*/ 3453 w 5830"/>
                <a:gd name="T97" fmla="*/ 149 h 5221"/>
                <a:gd name="T98" fmla="*/ 3126 w 5830"/>
                <a:gd name="T99" fmla="*/ 74 h 5221"/>
                <a:gd name="T100" fmla="*/ 2785 w 5830"/>
                <a:gd name="T101" fmla="*/ 67 h 5221"/>
                <a:gd name="T102" fmla="*/ 2436 w 5830"/>
                <a:gd name="T103" fmla="*/ 735 h 5221"/>
                <a:gd name="T104" fmla="*/ 1938 w 5830"/>
                <a:gd name="T105" fmla="*/ 1151 h 5221"/>
                <a:gd name="T106" fmla="*/ 1374 w 5830"/>
                <a:gd name="T107" fmla="*/ 1485 h 5221"/>
                <a:gd name="T108" fmla="*/ 847 w 5830"/>
                <a:gd name="T109" fmla="*/ 1337 h 5221"/>
                <a:gd name="T110" fmla="*/ 319 w 5830"/>
                <a:gd name="T111" fmla="*/ 1701 h 5221"/>
                <a:gd name="T112" fmla="*/ 178 w 5830"/>
                <a:gd name="T113" fmla="*/ 2258 h 5221"/>
                <a:gd name="T114" fmla="*/ 423 w 5830"/>
                <a:gd name="T115" fmla="*/ 2347 h 5221"/>
                <a:gd name="T116" fmla="*/ 371 w 5830"/>
                <a:gd name="T117" fmla="*/ 2785 h 5221"/>
                <a:gd name="T118" fmla="*/ 512 w 5830"/>
                <a:gd name="T119" fmla="*/ 2978 h 5221"/>
                <a:gd name="T120" fmla="*/ 809 w 5830"/>
                <a:gd name="T121" fmla="*/ 3386 h 5221"/>
                <a:gd name="T122" fmla="*/ 943 w 5830"/>
                <a:gd name="T123" fmla="*/ 3854 h 5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830" h="5221">
                  <a:moveTo>
                    <a:pt x="1106" y="3832"/>
                  </a:moveTo>
                  <a:lnTo>
                    <a:pt x="1106" y="3832"/>
                  </a:lnTo>
                  <a:cubicBezTo>
                    <a:pt x="1121" y="3839"/>
                    <a:pt x="1114" y="3869"/>
                    <a:pt x="1121" y="3891"/>
                  </a:cubicBezTo>
                  <a:cubicBezTo>
                    <a:pt x="1129" y="3913"/>
                    <a:pt x="1158" y="3913"/>
                    <a:pt x="1181" y="3906"/>
                  </a:cubicBezTo>
                  <a:cubicBezTo>
                    <a:pt x="1181" y="3899"/>
                    <a:pt x="1188" y="3884"/>
                    <a:pt x="1188" y="3869"/>
                  </a:cubicBezTo>
                  <a:cubicBezTo>
                    <a:pt x="1225" y="3869"/>
                    <a:pt x="1277" y="3854"/>
                    <a:pt x="1314" y="3869"/>
                  </a:cubicBezTo>
                  <a:cubicBezTo>
                    <a:pt x="1344" y="3884"/>
                    <a:pt x="1366" y="3891"/>
                    <a:pt x="1403" y="3891"/>
                  </a:cubicBezTo>
                  <a:cubicBezTo>
                    <a:pt x="1441" y="3884"/>
                    <a:pt x="1470" y="3891"/>
                    <a:pt x="1485" y="3921"/>
                  </a:cubicBezTo>
                  <a:cubicBezTo>
                    <a:pt x="1492" y="3943"/>
                    <a:pt x="1500" y="3980"/>
                    <a:pt x="1530" y="3973"/>
                  </a:cubicBezTo>
                  <a:cubicBezTo>
                    <a:pt x="1530" y="3951"/>
                    <a:pt x="1544" y="3906"/>
                    <a:pt x="1574" y="3913"/>
                  </a:cubicBezTo>
                  <a:cubicBezTo>
                    <a:pt x="1574" y="3936"/>
                    <a:pt x="1582" y="3943"/>
                    <a:pt x="1604" y="3943"/>
                  </a:cubicBezTo>
                  <a:cubicBezTo>
                    <a:pt x="1611" y="3906"/>
                    <a:pt x="1663" y="3876"/>
                    <a:pt x="1693" y="3884"/>
                  </a:cubicBezTo>
                  <a:cubicBezTo>
                    <a:pt x="1700" y="3913"/>
                    <a:pt x="1693" y="3943"/>
                    <a:pt x="1723" y="3958"/>
                  </a:cubicBezTo>
                  <a:cubicBezTo>
                    <a:pt x="1752" y="3980"/>
                    <a:pt x="1812" y="3943"/>
                    <a:pt x="1834" y="3980"/>
                  </a:cubicBezTo>
                  <a:cubicBezTo>
                    <a:pt x="1849" y="4003"/>
                    <a:pt x="1841" y="4025"/>
                    <a:pt x="1864" y="4047"/>
                  </a:cubicBezTo>
                  <a:cubicBezTo>
                    <a:pt x="1894" y="4070"/>
                    <a:pt x="1901" y="4084"/>
                    <a:pt x="1908" y="4121"/>
                  </a:cubicBezTo>
                  <a:cubicBezTo>
                    <a:pt x="1938" y="4114"/>
                    <a:pt x="1938" y="4084"/>
                    <a:pt x="1960" y="4062"/>
                  </a:cubicBezTo>
                  <a:cubicBezTo>
                    <a:pt x="1990" y="4055"/>
                    <a:pt x="2027" y="4121"/>
                    <a:pt x="2057" y="4129"/>
                  </a:cubicBezTo>
                  <a:cubicBezTo>
                    <a:pt x="2057" y="4151"/>
                    <a:pt x="2057" y="4173"/>
                    <a:pt x="2064" y="4196"/>
                  </a:cubicBezTo>
                  <a:cubicBezTo>
                    <a:pt x="2109" y="4196"/>
                    <a:pt x="2198" y="4173"/>
                    <a:pt x="2213" y="4225"/>
                  </a:cubicBezTo>
                  <a:cubicBezTo>
                    <a:pt x="2257" y="4248"/>
                    <a:pt x="2250" y="4166"/>
                    <a:pt x="2265" y="4144"/>
                  </a:cubicBezTo>
                  <a:cubicBezTo>
                    <a:pt x="2287" y="4114"/>
                    <a:pt x="2324" y="4129"/>
                    <a:pt x="2361" y="4136"/>
                  </a:cubicBezTo>
                  <a:cubicBezTo>
                    <a:pt x="2361" y="4166"/>
                    <a:pt x="2346" y="4196"/>
                    <a:pt x="2354" y="4225"/>
                  </a:cubicBezTo>
                  <a:cubicBezTo>
                    <a:pt x="2376" y="4225"/>
                    <a:pt x="2398" y="4218"/>
                    <a:pt x="2413" y="4233"/>
                  </a:cubicBezTo>
                  <a:cubicBezTo>
                    <a:pt x="2369" y="4262"/>
                    <a:pt x="2324" y="4270"/>
                    <a:pt x="2317" y="4322"/>
                  </a:cubicBezTo>
                  <a:cubicBezTo>
                    <a:pt x="2309" y="4374"/>
                    <a:pt x="2339" y="4426"/>
                    <a:pt x="2391" y="4418"/>
                  </a:cubicBezTo>
                  <a:cubicBezTo>
                    <a:pt x="2376" y="4478"/>
                    <a:pt x="2406" y="4515"/>
                    <a:pt x="2451" y="4463"/>
                  </a:cubicBezTo>
                  <a:cubicBezTo>
                    <a:pt x="2495" y="4404"/>
                    <a:pt x="2547" y="4470"/>
                    <a:pt x="2532" y="4530"/>
                  </a:cubicBezTo>
                  <a:cubicBezTo>
                    <a:pt x="2517" y="4575"/>
                    <a:pt x="2421" y="4619"/>
                    <a:pt x="2443" y="4671"/>
                  </a:cubicBezTo>
                  <a:cubicBezTo>
                    <a:pt x="2458" y="4701"/>
                    <a:pt x="2495" y="4686"/>
                    <a:pt x="2510" y="4708"/>
                  </a:cubicBezTo>
                  <a:cubicBezTo>
                    <a:pt x="2532" y="4738"/>
                    <a:pt x="2510" y="4775"/>
                    <a:pt x="2540" y="4805"/>
                  </a:cubicBezTo>
                  <a:cubicBezTo>
                    <a:pt x="2666" y="4738"/>
                    <a:pt x="2569" y="4894"/>
                    <a:pt x="2614" y="4938"/>
                  </a:cubicBezTo>
                  <a:cubicBezTo>
                    <a:pt x="2643" y="4960"/>
                    <a:pt x="2696" y="4938"/>
                    <a:pt x="2725" y="4953"/>
                  </a:cubicBezTo>
                  <a:cubicBezTo>
                    <a:pt x="2762" y="4968"/>
                    <a:pt x="2755" y="5020"/>
                    <a:pt x="2799" y="5012"/>
                  </a:cubicBezTo>
                  <a:lnTo>
                    <a:pt x="2799" y="5020"/>
                  </a:lnTo>
                  <a:cubicBezTo>
                    <a:pt x="2829" y="5020"/>
                    <a:pt x="2874" y="5012"/>
                    <a:pt x="2896" y="5035"/>
                  </a:cubicBezTo>
                  <a:cubicBezTo>
                    <a:pt x="2933" y="5072"/>
                    <a:pt x="2911" y="5087"/>
                    <a:pt x="2911" y="5124"/>
                  </a:cubicBezTo>
                  <a:cubicBezTo>
                    <a:pt x="2896" y="5176"/>
                    <a:pt x="2970" y="5139"/>
                    <a:pt x="2993" y="5146"/>
                  </a:cubicBezTo>
                  <a:cubicBezTo>
                    <a:pt x="3022" y="5154"/>
                    <a:pt x="3022" y="5183"/>
                    <a:pt x="3022" y="5213"/>
                  </a:cubicBezTo>
                  <a:cubicBezTo>
                    <a:pt x="3030" y="5213"/>
                    <a:pt x="3030" y="5213"/>
                    <a:pt x="3037" y="5220"/>
                  </a:cubicBezTo>
                  <a:cubicBezTo>
                    <a:pt x="3045" y="5220"/>
                    <a:pt x="3045" y="5220"/>
                    <a:pt x="3045" y="5213"/>
                  </a:cubicBezTo>
                  <a:cubicBezTo>
                    <a:pt x="3052" y="5191"/>
                    <a:pt x="3104" y="5213"/>
                    <a:pt x="3111" y="5220"/>
                  </a:cubicBezTo>
                  <a:cubicBezTo>
                    <a:pt x="3156" y="5154"/>
                    <a:pt x="3245" y="5183"/>
                    <a:pt x="3297" y="5131"/>
                  </a:cubicBezTo>
                  <a:cubicBezTo>
                    <a:pt x="3334" y="5094"/>
                    <a:pt x="3208" y="5057"/>
                    <a:pt x="3186" y="5042"/>
                  </a:cubicBezTo>
                  <a:cubicBezTo>
                    <a:pt x="3223" y="5012"/>
                    <a:pt x="3201" y="4998"/>
                    <a:pt x="3201" y="4953"/>
                  </a:cubicBezTo>
                  <a:cubicBezTo>
                    <a:pt x="3267" y="4931"/>
                    <a:pt x="3349" y="4923"/>
                    <a:pt x="3408" y="4886"/>
                  </a:cubicBezTo>
                  <a:cubicBezTo>
                    <a:pt x="3460" y="4857"/>
                    <a:pt x="3468" y="4797"/>
                    <a:pt x="3468" y="4745"/>
                  </a:cubicBezTo>
                  <a:cubicBezTo>
                    <a:pt x="3468" y="4715"/>
                    <a:pt x="3460" y="4678"/>
                    <a:pt x="3468" y="4649"/>
                  </a:cubicBezTo>
                  <a:cubicBezTo>
                    <a:pt x="3468" y="4612"/>
                    <a:pt x="3490" y="4597"/>
                    <a:pt x="3512" y="4575"/>
                  </a:cubicBezTo>
                  <a:cubicBezTo>
                    <a:pt x="3535" y="4545"/>
                    <a:pt x="3520" y="4515"/>
                    <a:pt x="3505" y="4485"/>
                  </a:cubicBezTo>
                  <a:cubicBezTo>
                    <a:pt x="3490" y="4456"/>
                    <a:pt x="3490" y="4411"/>
                    <a:pt x="3490" y="4374"/>
                  </a:cubicBezTo>
                  <a:cubicBezTo>
                    <a:pt x="3453" y="4374"/>
                    <a:pt x="3408" y="4374"/>
                    <a:pt x="3371" y="4374"/>
                  </a:cubicBezTo>
                  <a:cubicBezTo>
                    <a:pt x="3386" y="4352"/>
                    <a:pt x="3408" y="4337"/>
                    <a:pt x="3416" y="4315"/>
                  </a:cubicBezTo>
                  <a:cubicBezTo>
                    <a:pt x="3431" y="4285"/>
                    <a:pt x="3408" y="4248"/>
                    <a:pt x="3438" y="4233"/>
                  </a:cubicBezTo>
                  <a:cubicBezTo>
                    <a:pt x="3431" y="4210"/>
                    <a:pt x="3393" y="4203"/>
                    <a:pt x="3371" y="4196"/>
                  </a:cubicBezTo>
                  <a:cubicBezTo>
                    <a:pt x="3371" y="4173"/>
                    <a:pt x="3356" y="4144"/>
                    <a:pt x="3371" y="4121"/>
                  </a:cubicBezTo>
                  <a:cubicBezTo>
                    <a:pt x="3386" y="4099"/>
                    <a:pt x="3431" y="4099"/>
                    <a:pt x="3431" y="4070"/>
                  </a:cubicBezTo>
                  <a:cubicBezTo>
                    <a:pt x="3431" y="4040"/>
                    <a:pt x="3379" y="3965"/>
                    <a:pt x="3453" y="3980"/>
                  </a:cubicBezTo>
                  <a:cubicBezTo>
                    <a:pt x="3446" y="4017"/>
                    <a:pt x="3468" y="3995"/>
                    <a:pt x="3483" y="4017"/>
                  </a:cubicBezTo>
                  <a:cubicBezTo>
                    <a:pt x="3505" y="4032"/>
                    <a:pt x="3512" y="4062"/>
                    <a:pt x="3542" y="4055"/>
                  </a:cubicBezTo>
                  <a:cubicBezTo>
                    <a:pt x="3542" y="3973"/>
                    <a:pt x="3408" y="3913"/>
                    <a:pt x="3468" y="3832"/>
                  </a:cubicBezTo>
                  <a:cubicBezTo>
                    <a:pt x="3498" y="3839"/>
                    <a:pt x="3498" y="3876"/>
                    <a:pt x="3512" y="3899"/>
                  </a:cubicBezTo>
                  <a:cubicBezTo>
                    <a:pt x="3535" y="3928"/>
                    <a:pt x="3587" y="3928"/>
                    <a:pt x="3616" y="3913"/>
                  </a:cubicBezTo>
                  <a:cubicBezTo>
                    <a:pt x="3653" y="3891"/>
                    <a:pt x="3639" y="3854"/>
                    <a:pt x="3653" y="3817"/>
                  </a:cubicBezTo>
                  <a:cubicBezTo>
                    <a:pt x="3683" y="3780"/>
                    <a:pt x="3750" y="3795"/>
                    <a:pt x="3795" y="3795"/>
                  </a:cubicBezTo>
                  <a:cubicBezTo>
                    <a:pt x="3795" y="3832"/>
                    <a:pt x="3795" y="3862"/>
                    <a:pt x="3787" y="3899"/>
                  </a:cubicBezTo>
                  <a:cubicBezTo>
                    <a:pt x="3735" y="3891"/>
                    <a:pt x="3750" y="3943"/>
                    <a:pt x="3750" y="3973"/>
                  </a:cubicBezTo>
                  <a:cubicBezTo>
                    <a:pt x="3698" y="3973"/>
                    <a:pt x="3683" y="4032"/>
                    <a:pt x="3735" y="4047"/>
                  </a:cubicBezTo>
                  <a:cubicBezTo>
                    <a:pt x="3795" y="4055"/>
                    <a:pt x="3869" y="4062"/>
                    <a:pt x="3928" y="4070"/>
                  </a:cubicBezTo>
                  <a:cubicBezTo>
                    <a:pt x="3913" y="4136"/>
                    <a:pt x="3980" y="4084"/>
                    <a:pt x="4003" y="4070"/>
                  </a:cubicBezTo>
                  <a:cubicBezTo>
                    <a:pt x="4040" y="4047"/>
                    <a:pt x="4055" y="4040"/>
                    <a:pt x="4114" y="4047"/>
                  </a:cubicBezTo>
                  <a:cubicBezTo>
                    <a:pt x="4114" y="4084"/>
                    <a:pt x="4106" y="4121"/>
                    <a:pt x="4114" y="4166"/>
                  </a:cubicBezTo>
                  <a:cubicBezTo>
                    <a:pt x="4129" y="4173"/>
                    <a:pt x="4151" y="4173"/>
                    <a:pt x="4173" y="4173"/>
                  </a:cubicBezTo>
                  <a:cubicBezTo>
                    <a:pt x="4181" y="4218"/>
                    <a:pt x="4173" y="4337"/>
                    <a:pt x="4099" y="4262"/>
                  </a:cubicBezTo>
                  <a:cubicBezTo>
                    <a:pt x="4069" y="4270"/>
                    <a:pt x="4055" y="4315"/>
                    <a:pt x="4062" y="4344"/>
                  </a:cubicBezTo>
                  <a:cubicBezTo>
                    <a:pt x="4062" y="4366"/>
                    <a:pt x="4099" y="4344"/>
                    <a:pt x="4092" y="4396"/>
                  </a:cubicBezTo>
                  <a:cubicBezTo>
                    <a:pt x="4092" y="4426"/>
                    <a:pt x="4069" y="4456"/>
                    <a:pt x="4077" y="4478"/>
                  </a:cubicBezTo>
                  <a:cubicBezTo>
                    <a:pt x="4084" y="4515"/>
                    <a:pt x="4129" y="4507"/>
                    <a:pt x="4136" y="4537"/>
                  </a:cubicBezTo>
                  <a:cubicBezTo>
                    <a:pt x="4092" y="4552"/>
                    <a:pt x="4069" y="4575"/>
                    <a:pt x="4025" y="4582"/>
                  </a:cubicBezTo>
                  <a:cubicBezTo>
                    <a:pt x="3980" y="4589"/>
                    <a:pt x="3965" y="4582"/>
                    <a:pt x="3928" y="4567"/>
                  </a:cubicBezTo>
                  <a:cubicBezTo>
                    <a:pt x="3869" y="4530"/>
                    <a:pt x="3869" y="4664"/>
                    <a:pt x="3876" y="4693"/>
                  </a:cubicBezTo>
                  <a:cubicBezTo>
                    <a:pt x="3950" y="4693"/>
                    <a:pt x="3943" y="4730"/>
                    <a:pt x="3995" y="4760"/>
                  </a:cubicBezTo>
                  <a:cubicBezTo>
                    <a:pt x="4010" y="4738"/>
                    <a:pt x="3995" y="4708"/>
                    <a:pt x="4010" y="4686"/>
                  </a:cubicBezTo>
                  <a:cubicBezTo>
                    <a:pt x="4055" y="4671"/>
                    <a:pt x="4099" y="4693"/>
                    <a:pt x="4144" y="4693"/>
                  </a:cubicBezTo>
                  <a:cubicBezTo>
                    <a:pt x="4151" y="4671"/>
                    <a:pt x="4166" y="4664"/>
                    <a:pt x="4188" y="4664"/>
                  </a:cubicBezTo>
                  <a:cubicBezTo>
                    <a:pt x="4195" y="4634"/>
                    <a:pt x="4173" y="4612"/>
                    <a:pt x="4173" y="4589"/>
                  </a:cubicBezTo>
                  <a:cubicBezTo>
                    <a:pt x="4203" y="4575"/>
                    <a:pt x="4233" y="4582"/>
                    <a:pt x="4255" y="4560"/>
                  </a:cubicBezTo>
                  <a:cubicBezTo>
                    <a:pt x="4285" y="4522"/>
                    <a:pt x="4307" y="4470"/>
                    <a:pt x="4307" y="4433"/>
                  </a:cubicBezTo>
                  <a:cubicBezTo>
                    <a:pt x="4359" y="4418"/>
                    <a:pt x="4403" y="4441"/>
                    <a:pt x="4448" y="4456"/>
                  </a:cubicBezTo>
                  <a:cubicBezTo>
                    <a:pt x="4500" y="4463"/>
                    <a:pt x="4552" y="4463"/>
                    <a:pt x="4597" y="4485"/>
                  </a:cubicBezTo>
                  <a:cubicBezTo>
                    <a:pt x="4597" y="4470"/>
                    <a:pt x="4604" y="4456"/>
                    <a:pt x="4597" y="4448"/>
                  </a:cubicBezTo>
                  <a:cubicBezTo>
                    <a:pt x="4619" y="4448"/>
                    <a:pt x="4641" y="4448"/>
                    <a:pt x="4656" y="4441"/>
                  </a:cubicBezTo>
                  <a:lnTo>
                    <a:pt x="4663" y="4433"/>
                  </a:lnTo>
                  <a:cubicBezTo>
                    <a:pt x="4663" y="4448"/>
                    <a:pt x="4663" y="4470"/>
                    <a:pt x="4663" y="4493"/>
                  </a:cubicBezTo>
                  <a:cubicBezTo>
                    <a:pt x="4693" y="4493"/>
                    <a:pt x="4708" y="4515"/>
                    <a:pt x="4745" y="4507"/>
                  </a:cubicBezTo>
                  <a:cubicBezTo>
                    <a:pt x="4738" y="4537"/>
                    <a:pt x="4752" y="4567"/>
                    <a:pt x="4782" y="4560"/>
                  </a:cubicBezTo>
                  <a:cubicBezTo>
                    <a:pt x="4782" y="4522"/>
                    <a:pt x="4857" y="4530"/>
                    <a:pt x="4857" y="4485"/>
                  </a:cubicBezTo>
                  <a:cubicBezTo>
                    <a:pt x="4797" y="4470"/>
                    <a:pt x="4827" y="4292"/>
                    <a:pt x="4812" y="4248"/>
                  </a:cubicBezTo>
                  <a:cubicBezTo>
                    <a:pt x="4857" y="4233"/>
                    <a:pt x="4864" y="4277"/>
                    <a:pt x="4901" y="4285"/>
                  </a:cubicBezTo>
                  <a:cubicBezTo>
                    <a:pt x="4953" y="4300"/>
                    <a:pt x="4968" y="4233"/>
                    <a:pt x="4975" y="4196"/>
                  </a:cubicBezTo>
                  <a:cubicBezTo>
                    <a:pt x="4975" y="4144"/>
                    <a:pt x="4953" y="4121"/>
                    <a:pt x="4908" y="4107"/>
                  </a:cubicBezTo>
                  <a:cubicBezTo>
                    <a:pt x="4849" y="4099"/>
                    <a:pt x="4819" y="4084"/>
                    <a:pt x="4805" y="4032"/>
                  </a:cubicBezTo>
                  <a:cubicBezTo>
                    <a:pt x="4834" y="4032"/>
                    <a:pt x="4894" y="4040"/>
                    <a:pt x="4886" y="3995"/>
                  </a:cubicBezTo>
                  <a:cubicBezTo>
                    <a:pt x="4886" y="3965"/>
                    <a:pt x="4857" y="3958"/>
                    <a:pt x="4849" y="3928"/>
                  </a:cubicBezTo>
                  <a:cubicBezTo>
                    <a:pt x="4842" y="3906"/>
                    <a:pt x="4849" y="3884"/>
                    <a:pt x="4857" y="3862"/>
                  </a:cubicBezTo>
                  <a:cubicBezTo>
                    <a:pt x="4908" y="3854"/>
                    <a:pt x="4960" y="3869"/>
                    <a:pt x="5020" y="3862"/>
                  </a:cubicBezTo>
                  <a:cubicBezTo>
                    <a:pt x="5065" y="3862"/>
                    <a:pt x="5094" y="3832"/>
                    <a:pt x="5139" y="3817"/>
                  </a:cubicBezTo>
                  <a:cubicBezTo>
                    <a:pt x="5131" y="3824"/>
                    <a:pt x="5139" y="3847"/>
                    <a:pt x="5139" y="3854"/>
                  </a:cubicBezTo>
                  <a:cubicBezTo>
                    <a:pt x="5161" y="3854"/>
                    <a:pt x="5183" y="3847"/>
                    <a:pt x="5205" y="3847"/>
                  </a:cubicBezTo>
                  <a:cubicBezTo>
                    <a:pt x="5213" y="3795"/>
                    <a:pt x="5213" y="3743"/>
                    <a:pt x="5213" y="3691"/>
                  </a:cubicBezTo>
                  <a:cubicBezTo>
                    <a:pt x="5161" y="3691"/>
                    <a:pt x="5183" y="3639"/>
                    <a:pt x="5176" y="3609"/>
                  </a:cubicBezTo>
                  <a:cubicBezTo>
                    <a:pt x="5116" y="3602"/>
                    <a:pt x="5109" y="3631"/>
                    <a:pt x="5094" y="3683"/>
                  </a:cubicBezTo>
                  <a:cubicBezTo>
                    <a:pt x="5072" y="3676"/>
                    <a:pt x="5057" y="3661"/>
                    <a:pt x="5035" y="3661"/>
                  </a:cubicBezTo>
                  <a:cubicBezTo>
                    <a:pt x="5012" y="3654"/>
                    <a:pt x="4997" y="3668"/>
                    <a:pt x="4975" y="3676"/>
                  </a:cubicBezTo>
                  <a:cubicBezTo>
                    <a:pt x="4901" y="3683"/>
                    <a:pt x="4805" y="3668"/>
                    <a:pt x="4738" y="3646"/>
                  </a:cubicBezTo>
                  <a:cubicBezTo>
                    <a:pt x="4700" y="3631"/>
                    <a:pt x="4671" y="3609"/>
                    <a:pt x="4663" y="3565"/>
                  </a:cubicBezTo>
                  <a:cubicBezTo>
                    <a:pt x="4649" y="3498"/>
                    <a:pt x="4626" y="3431"/>
                    <a:pt x="4604" y="3364"/>
                  </a:cubicBezTo>
                  <a:cubicBezTo>
                    <a:pt x="4663" y="3371"/>
                    <a:pt x="4634" y="3297"/>
                    <a:pt x="4671" y="3275"/>
                  </a:cubicBezTo>
                  <a:cubicBezTo>
                    <a:pt x="4730" y="3275"/>
                    <a:pt x="4790" y="3253"/>
                    <a:pt x="4819" y="3201"/>
                  </a:cubicBezTo>
                  <a:cubicBezTo>
                    <a:pt x="4849" y="3149"/>
                    <a:pt x="4901" y="3074"/>
                    <a:pt x="4968" y="3060"/>
                  </a:cubicBezTo>
                  <a:cubicBezTo>
                    <a:pt x="5005" y="3052"/>
                    <a:pt x="5042" y="3060"/>
                    <a:pt x="5065" y="3022"/>
                  </a:cubicBezTo>
                  <a:cubicBezTo>
                    <a:pt x="5079" y="3000"/>
                    <a:pt x="5094" y="2985"/>
                    <a:pt x="5116" y="2970"/>
                  </a:cubicBezTo>
                  <a:cubicBezTo>
                    <a:pt x="5161" y="2948"/>
                    <a:pt x="5235" y="2948"/>
                    <a:pt x="5257" y="2903"/>
                  </a:cubicBezTo>
                  <a:cubicBezTo>
                    <a:pt x="5302" y="2903"/>
                    <a:pt x="5354" y="2889"/>
                    <a:pt x="5391" y="2859"/>
                  </a:cubicBezTo>
                  <a:cubicBezTo>
                    <a:pt x="5406" y="2852"/>
                    <a:pt x="5413" y="2837"/>
                    <a:pt x="5428" y="2822"/>
                  </a:cubicBezTo>
                  <a:cubicBezTo>
                    <a:pt x="5451" y="2800"/>
                    <a:pt x="5488" y="2807"/>
                    <a:pt x="5517" y="2792"/>
                  </a:cubicBezTo>
                  <a:cubicBezTo>
                    <a:pt x="5532" y="2681"/>
                    <a:pt x="5673" y="2725"/>
                    <a:pt x="5748" y="2718"/>
                  </a:cubicBezTo>
                  <a:lnTo>
                    <a:pt x="5770" y="2658"/>
                  </a:lnTo>
                  <a:cubicBezTo>
                    <a:pt x="5777" y="2644"/>
                    <a:pt x="5800" y="2621"/>
                    <a:pt x="5814" y="2599"/>
                  </a:cubicBezTo>
                  <a:cubicBezTo>
                    <a:pt x="5807" y="2584"/>
                    <a:pt x="5814" y="2562"/>
                    <a:pt x="5829" y="2555"/>
                  </a:cubicBezTo>
                  <a:cubicBezTo>
                    <a:pt x="5800" y="2555"/>
                    <a:pt x="5785" y="2525"/>
                    <a:pt x="5777" y="2495"/>
                  </a:cubicBezTo>
                  <a:cubicBezTo>
                    <a:pt x="5755" y="2503"/>
                    <a:pt x="5748" y="2510"/>
                    <a:pt x="5748" y="2525"/>
                  </a:cubicBezTo>
                  <a:cubicBezTo>
                    <a:pt x="5740" y="2525"/>
                    <a:pt x="5733" y="2532"/>
                    <a:pt x="5725" y="2532"/>
                  </a:cubicBezTo>
                  <a:cubicBezTo>
                    <a:pt x="5718" y="2547"/>
                    <a:pt x="5710" y="2569"/>
                    <a:pt x="5710" y="2584"/>
                  </a:cubicBezTo>
                  <a:cubicBezTo>
                    <a:pt x="5673" y="2592"/>
                    <a:pt x="5673" y="2562"/>
                    <a:pt x="5666" y="2532"/>
                  </a:cubicBezTo>
                  <a:cubicBezTo>
                    <a:pt x="5636" y="2525"/>
                    <a:pt x="5592" y="2584"/>
                    <a:pt x="5569" y="2555"/>
                  </a:cubicBezTo>
                  <a:cubicBezTo>
                    <a:pt x="5540" y="2525"/>
                    <a:pt x="5517" y="2525"/>
                    <a:pt x="5480" y="2532"/>
                  </a:cubicBezTo>
                  <a:cubicBezTo>
                    <a:pt x="5480" y="2547"/>
                    <a:pt x="5473" y="2562"/>
                    <a:pt x="5473" y="2584"/>
                  </a:cubicBezTo>
                  <a:cubicBezTo>
                    <a:pt x="5406" y="2584"/>
                    <a:pt x="5295" y="2547"/>
                    <a:pt x="5302" y="2644"/>
                  </a:cubicBezTo>
                  <a:cubicBezTo>
                    <a:pt x="5243" y="2644"/>
                    <a:pt x="5272" y="2525"/>
                    <a:pt x="5339" y="2525"/>
                  </a:cubicBezTo>
                  <a:cubicBezTo>
                    <a:pt x="5339" y="2517"/>
                    <a:pt x="5339" y="2517"/>
                    <a:pt x="5347" y="2510"/>
                  </a:cubicBezTo>
                  <a:cubicBezTo>
                    <a:pt x="5369" y="2510"/>
                    <a:pt x="5399" y="2517"/>
                    <a:pt x="5428" y="2510"/>
                  </a:cubicBezTo>
                  <a:cubicBezTo>
                    <a:pt x="5428" y="2473"/>
                    <a:pt x="5480" y="2480"/>
                    <a:pt x="5510" y="2480"/>
                  </a:cubicBezTo>
                  <a:cubicBezTo>
                    <a:pt x="5502" y="2428"/>
                    <a:pt x="5428" y="2436"/>
                    <a:pt x="5384" y="2428"/>
                  </a:cubicBezTo>
                  <a:cubicBezTo>
                    <a:pt x="5384" y="2391"/>
                    <a:pt x="5384" y="2354"/>
                    <a:pt x="5436" y="2369"/>
                  </a:cubicBezTo>
                  <a:cubicBezTo>
                    <a:pt x="5428" y="2347"/>
                    <a:pt x="5436" y="2332"/>
                    <a:pt x="5451" y="2324"/>
                  </a:cubicBezTo>
                  <a:cubicBezTo>
                    <a:pt x="5473" y="2258"/>
                    <a:pt x="5391" y="2302"/>
                    <a:pt x="5399" y="2258"/>
                  </a:cubicBezTo>
                  <a:cubicBezTo>
                    <a:pt x="5399" y="2250"/>
                    <a:pt x="5451" y="2250"/>
                    <a:pt x="5428" y="2228"/>
                  </a:cubicBezTo>
                  <a:cubicBezTo>
                    <a:pt x="5421" y="2213"/>
                    <a:pt x="5399" y="2213"/>
                    <a:pt x="5384" y="2206"/>
                  </a:cubicBezTo>
                  <a:cubicBezTo>
                    <a:pt x="5347" y="2191"/>
                    <a:pt x="5295" y="2198"/>
                    <a:pt x="5295" y="2146"/>
                  </a:cubicBezTo>
                  <a:cubicBezTo>
                    <a:pt x="5295" y="2072"/>
                    <a:pt x="5198" y="1938"/>
                    <a:pt x="5265" y="1871"/>
                  </a:cubicBezTo>
                  <a:cubicBezTo>
                    <a:pt x="5287" y="1849"/>
                    <a:pt x="5295" y="1827"/>
                    <a:pt x="5295" y="1804"/>
                  </a:cubicBezTo>
                  <a:cubicBezTo>
                    <a:pt x="5257" y="1819"/>
                    <a:pt x="5243" y="1856"/>
                    <a:pt x="5213" y="1879"/>
                  </a:cubicBezTo>
                  <a:cubicBezTo>
                    <a:pt x="5183" y="1901"/>
                    <a:pt x="5102" y="1909"/>
                    <a:pt x="5065" y="1886"/>
                  </a:cubicBezTo>
                  <a:cubicBezTo>
                    <a:pt x="5072" y="1901"/>
                    <a:pt x="5072" y="1916"/>
                    <a:pt x="5072" y="1938"/>
                  </a:cubicBezTo>
                  <a:cubicBezTo>
                    <a:pt x="5035" y="1931"/>
                    <a:pt x="5005" y="1938"/>
                    <a:pt x="4997" y="1983"/>
                  </a:cubicBezTo>
                  <a:cubicBezTo>
                    <a:pt x="4923" y="2005"/>
                    <a:pt x="4960" y="1879"/>
                    <a:pt x="4968" y="1842"/>
                  </a:cubicBezTo>
                  <a:cubicBezTo>
                    <a:pt x="4975" y="1797"/>
                    <a:pt x="4960" y="1678"/>
                    <a:pt x="5012" y="1656"/>
                  </a:cubicBezTo>
                  <a:cubicBezTo>
                    <a:pt x="5020" y="1649"/>
                    <a:pt x="5012" y="1641"/>
                    <a:pt x="5020" y="1641"/>
                  </a:cubicBezTo>
                  <a:cubicBezTo>
                    <a:pt x="4975" y="1634"/>
                    <a:pt x="4946" y="1559"/>
                    <a:pt x="4908" y="1582"/>
                  </a:cubicBezTo>
                  <a:cubicBezTo>
                    <a:pt x="4908" y="1604"/>
                    <a:pt x="4901" y="1619"/>
                    <a:pt x="4901" y="1641"/>
                  </a:cubicBezTo>
                  <a:cubicBezTo>
                    <a:pt x="4879" y="1641"/>
                    <a:pt x="4842" y="1626"/>
                    <a:pt x="4827" y="1641"/>
                  </a:cubicBezTo>
                  <a:cubicBezTo>
                    <a:pt x="4805" y="1656"/>
                    <a:pt x="4819" y="1693"/>
                    <a:pt x="4805" y="1708"/>
                  </a:cubicBezTo>
                  <a:cubicBezTo>
                    <a:pt x="4700" y="1715"/>
                    <a:pt x="4686" y="1559"/>
                    <a:pt x="4567" y="1582"/>
                  </a:cubicBezTo>
                  <a:cubicBezTo>
                    <a:pt x="4560" y="1604"/>
                    <a:pt x="4582" y="1611"/>
                    <a:pt x="4604" y="1611"/>
                  </a:cubicBezTo>
                  <a:cubicBezTo>
                    <a:pt x="4597" y="1611"/>
                    <a:pt x="4597" y="1619"/>
                    <a:pt x="4582" y="1619"/>
                  </a:cubicBezTo>
                  <a:cubicBezTo>
                    <a:pt x="4582" y="1649"/>
                    <a:pt x="4589" y="1671"/>
                    <a:pt x="4604" y="1701"/>
                  </a:cubicBezTo>
                  <a:cubicBezTo>
                    <a:pt x="4574" y="1701"/>
                    <a:pt x="4500" y="1678"/>
                    <a:pt x="4493" y="1723"/>
                  </a:cubicBezTo>
                  <a:cubicBezTo>
                    <a:pt x="4485" y="1760"/>
                    <a:pt x="4507" y="1790"/>
                    <a:pt x="4507" y="1827"/>
                  </a:cubicBezTo>
                  <a:cubicBezTo>
                    <a:pt x="4485" y="1834"/>
                    <a:pt x="4470" y="1812"/>
                    <a:pt x="4448" y="1819"/>
                  </a:cubicBezTo>
                  <a:cubicBezTo>
                    <a:pt x="4441" y="1819"/>
                    <a:pt x="4426" y="1819"/>
                    <a:pt x="4411" y="1819"/>
                  </a:cubicBezTo>
                  <a:cubicBezTo>
                    <a:pt x="4270" y="1797"/>
                    <a:pt x="4426" y="1619"/>
                    <a:pt x="4403" y="1552"/>
                  </a:cubicBezTo>
                  <a:cubicBezTo>
                    <a:pt x="4389" y="1500"/>
                    <a:pt x="4344" y="1441"/>
                    <a:pt x="4300" y="1418"/>
                  </a:cubicBezTo>
                  <a:cubicBezTo>
                    <a:pt x="4255" y="1396"/>
                    <a:pt x="4240" y="1374"/>
                    <a:pt x="4240" y="1322"/>
                  </a:cubicBezTo>
                  <a:cubicBezTo>
                    <a:pt x="4210" y="1322"/>
                    <a:pt x="4158" y="1337"/>
                    <a:pt x="4144" y="1299"/>
                  </a:cubicBezTo>
                  <a:cubicBezTo>
                    <a:pt x="4129" y="1262"/>
                    <a:pt x="4129" y="1233"/>
                    <a:pt x="4106" y="1196"/>
                  </a:cubicBezTo>
                  <a:cubicBezTo>
                    <a:pt x="4055" y="1121"/>
                    <a:pt x="4077" y="1002"/>
                    <a:pt x="4092" y="913"/>
                  </a:cubicBezTo>
                  <a:cubicBezTo>
                    <a:pt x="4092" y="928"/>
                    <a:pt x="4055" y="906"/>
                    <a:pt x="4047" y="899"/>
                  </a:cubicBezTo>
                  <a:cubicBezTo>
                    <a:pt x="4040" y="884"/>
                    <a:pt x="4040" y="854"/>
                    <a:pt x="4040" y="839"/>
                  </a:cubicBezTo>
                  <a:cubicBezTo>
                    <a:pt x="4047" y="794"/>
                    <a:pt x="4055" y="743"/>
                    <a:pt x="3995" y="743"/>
                  </a:cubicBezTo>
                  <a:cubicBezTo>
                    <a:pt x="3995" y="735"/>
                    <a:pt x="3988" y="728"/>
                    <a:pt x="3988" y="720"/>
                  </a:cubicBezTo>
                  <a:cubicBezTo>
                    <a:pt x="3950" y="713"/>
                    <a:pt x="3817" y="794"/>
                    <a:pt x="3795" y="705"/>
                  </a:cubicBezTo>
                  <a:cubicBezTo>
                    <a:pt x="3787" y="713"/>
                    <a:pt x="3772" y="705"/>
                    <a:pt x="3765" y="705"/>
                  </a:cubicBezTo>
                  <a:cubicBezTo>
                    <a:pt x="3765" y="691"/>
                    <a:pt x="3765" y="668"/>
                    <a:pt x="3765" y="654"/>
                  </a:cubicBezTo>
                  <a:cubicBezTo>
                    <a:pt x="3728" y="639"/>
                    <a:pt x="3646" y="579"/>
                    <a:pt x="3639" y="646"/>
                  </a:cubicBezTo>
                  <a:cubicBezTo>
                    <a:pt x="3601" y="639"/>
                    <a:pt x="3557" y="631"/>
                    <a:pt x="3512" y="646"/>
                  </a:cubicBezTo>
                  <a:cubicBezTo>
                    <a:pt x="3512" y="631"/>
                    <a:pt x="3505" y="624"/>
                    <a:pt x="3505" y="609"/>
                  </a:cubicBezTo>
                  <a:cubicBezTo>
                    <a:pt x="3483" y="602"/>
                    <a:pt x="3453" y="594"/>
                    <a:pt x="3453" y="564"/>
                  </a:cubicBezTo>
                  <a:cubicBezTo>
                    <a:pt x="3475" y="564"/>
                    <a:pt x="3498" y="564"/>
                    <a:pt x="3520" y="564"/>
                  </a:cubicBezTo>
                  <a:cubicBezTo>
                    <a:pt x="3527" y="527"/>
                    <a:pt x="3505" y="490"/>
                    <a:pt x="3520" y="453"/>
                  </a:cubicBezTo>
                  <a:cubicBezTo>
                    <a:pt x="3542" y="423"/>
                    <a:pt x="3542" y="401"/>
                    <a:pt x="3542" y="364"/>
                  </a:cubicBezTo>
                  <a:cubicBezTo>
                    <a:pt x="3520" y="357"/>
                    <a:pt x="3498" y="357"/>
                    <a:pt x="3483" y="357"/>
                  </a:cubicBezTo>
                  <a:cubicBezTo>
                    <a:pt x="3483" y="319"/>
                    <a:pt x="3468" y="267"/>
                    <a:pt x="3520" y="267"/>
                  </a:cubicBezTo>
                  <a:cubicBezTo>
                    <a:pt x="3527" y="252"/>
                    <a:pt x="3527" y="230"/>
                    <a:pt x="3520" y="223"/>
                  </a:cubicBezTo>
                  <a:cubicBezTo>
                    <a:pt x="3520" y="215"/>
                    <a:pt x="3483" y="215"/>
                    <a:pt x="3475" y="208"/>
                  </a:cubicBezTo>
                  <a:cubicBezTo>
                    <a:pt x="3460" y="193"/>
                    <a:pt x="3453" y="171"/>
                    <a:pt x="3453" y="149"/>
                  </a:cubicBezTo>
                  <a:cubicBezTo>
                    <a:pt x="3453" y="149"/>
                    <a:pt x="3453" y="141"/>
                    <a:pt x="3453" y="134"/>
                  </a:cubicBezTo>
                  <a:cubicBezTo>
                    <a:pt x="3408" y="126"/>
                    <a:pt x="3364" y="134"/>
                    <a:pt x="3327" y="119"/>
                  </a:cubicBezTo>
                  <a:cubicBezTo>
                    <a:pt x="3282" y="104"/>
                    <a:pt x="3253" y="97"/>
                    <a:pt x="3208" y="97"/>
                  </a:cubicBezTo>
                  <a:cubicBezTo>
                    <a:pt x="3186" y="97"/>
                    <a:pt x="3126" y="104"/>
                    <a:pt x="3126" y="74"/>
                  </a:cubicBezTo>
                  <a:cubicBezTo>
                    <a:pt x="3134" y="37"/>
                    <a:pt x="3104" y="15"/>
                    <a:pt x="3074" y="0"/>
                  </a:cubicBezTo>
                  <a:cubicBezTo>
                    <a:pt x="3059" y="22"/>
                    <a:pt x="3052" y="45"/>
                    <a:pt x="3015" y="45"/>
                  </a:cubicBezTo>
                  <a:cubicBezTo>
                    <a:pt x="2985" y="45"/>
                    <a:pt x="2948" y="37"/>
                    <a:pt x="2911" y="30"/>
                  </a:cubicBezTo>
                  <a:cubicBezTo>
                    <a:pt x="2859" y="30"/>
                    <a:pt x="2829" y="45"/>
                    <a:pt x="2785" y="67"/>
                  </a:cubicBezTo>
                  <a:cubicBezTo>
                    <a:pt x="2777" y="149"/>
                    <a:pt x="2755" y="215"/>
                    <a:pt x="2725" y="290"/>
                  </a:cubicBezTo>
                  <a:cubicBezTo>
                    <a:pt x="2710" y="327"/>
                    <a:pt x="2696" y="371"/>
                    <a:pt x="2681" y="408"/>
                  </a:cubicBezTo>
                  <a:cubicBezTo>
                    <a:pt x="2666" y="446"/>
                    <a:pt x="2643" y="483"/>
                    <a:pt x="2614" y="505"/>
                  </a:cubicBezTo>
                  <a:cubicBezTo>
                    <a:pt x="2540" y="572"/>
                    <a:pt x="2525" y="676"/>
                    <a:pt x="2436" y="735"/>
                  </a:cubicBezTo>
                  <a:cubicBezTo>
                    <a:pt x="2361" y="787"/>
                    <a:pt x="2280" y="802"/>
                    <a:pt x="2213" y="854"/>
                  </a:cubicBezTo>
                  <a:cubicBezTo>
                    <a:pt x="2176" y="876"/>
                    <a:pt x="2146" y="869"/>
                    <a:pt x="2109" y="884"/>
                  </a:cubicBezTo>
                  <a:cubicBezTo>
                    <a:pt x="2035" y="906"/>
                    <a:pt x="1997" y="980"/>
                    <a:pt x="1968" y="1040"/>
                  </a:cubicBezTo>
                  <a:cubicBezTo>
                    <a:pt x="1916" y="1047"/>
                    <a:pt x="1953" y="1121"/>
                    <a:pt x="1938" y="1151"/>
                  </a:cubicBezTo>
                  <a:cubicBezTo>
                    <a:pt x="1923" y="1188"/>
                    <a:pt x="1901" y="1188"/>
                    <a:pt x="1871" y="1210"/>
                  </a:cubicBezTo>
                  <a:cubicBezTo>
                    <a:pt x="1834" y="1225"/>
                    <a:pt x="1804" y="1240"/>
                    <a:pt x="1782" y="1270"/>
                  </a:cubicBezTo>
                  <a:cubicBezTo>
                    <a:pt x="1738" y="1322"/>
                    <a:pt x="1745" y="1396"/>
                    <a:pt x="1686" y="1448"/>
                  </a:cubicBezTo>
                  <a:cubicBezTo>
                    <a:pt x="1596" y="1522"/>
                    <a:pt x="1485" y="1485"/>
                    <a:pt x="1374" y="1485"/>
                  </a:cubicBezTo>
                  <a:cubicBezTo>
                    <a:pt x="1307" y="1485"/>
                    <a:pt x="1247" y="1485"/>
                    <a:pt x="1188" y="1507"/>
                  </a:cubicBezTo>
                  <a:cubicBezTo>
                    <a:pt x="1129" y="1530"/>
                    <a:pt x="1062" y="1596"/>
                    <a:pt x="987" y="1574"/>
                  </a:cubicBezTo>
                  <a:cubicBezTo>
                    <a:pt x="950" y="1567"/>
                    <a:pt x="884" y="1493"/>
                    <a:pt x="869" y="1448"/>
                  </a:cubicBezTo>
                  <a:cubicBezTo>
                    <a:pt x="861" y="1396"/>
                    <a:pt x="884" y="1374"/>
                    <a:pt x="847" y="1337"/>
                  </a:cubicBezTo>
                  <a:cubicBezTo>
                    <a:pt x="757" y="1255"/>
                    <a:pt x="631" y="1329"/>
                    <a:pt x="572" y="1396"/>
                  </a:cubicBezTo>
                  <a:cubicBezTo>
                    <a:pt x="557" y="1411"/>
                    <a:pt x="549" y="1441"/>
                    <a:pt x="535" y="1456"/>
                  </a:cubicBezTo>
                  <a:cubicBezTo>
                    <a:pt x="505" y="1493"/>
                    <a:pt x="475" y="1530"/>
                    <a:pt x="445" y="1574"/>
                  </a:cubicBezTo>
                  <a:cubicBezTo>
                    <a:pt x="408" y="1611"/>
                    <a:pt x="364" y="1671"/>
                    <a:pt x="319" y="1701"/>
                  </a:cubicBezTo>
                  <a:cubicBezTo>
                    <a:pt x="275" y="1738"/>
                    <a:pt x="215" y="1760"/>
                    <a:pt x="163" y="1797"/>
                  </a:cubicBezTo>
                  <a:cubicBezTo>
                    <a:pt x="82" y="1842"/>
                    <a:pt x="89" y="1879"/>
                    <a:pt x="74" y="1961"/>
                  </a:cubicBezTo>
                  <a:cubicBezTo>
                    <a:pt x="67" y="2005"/>
                    <a:pt x="45" y="2020"/>
                    <a:pt x="30" y="2057"/>
                  </a:cubicBezTo>
                  <a:cubicBezTo>
                    <a:pt x="0" y="2183"/>
                    <a:pt x="96" y="2191"/>
                    <a:pt x="178" y="2258"/>
                  </a:cubicBezTo>
                  <a:cubicBezTo>
                    <a:pt x="193" y="2272"/>
                    <a:pt x="208" y="2287"/>
                    <a:pt x="223" y="2302"/>
                  </a:cubicBezTo>
                  <a:cubicBezTo>
                    <a:pt x="237" y="2309"/>
                    <a:pt x="230" y="2324"/>
                    <a:pt x="252" y="2332"/>
                  </a:cubicBezTo>
                  <a:cubicBezTo>
                    <a:pt x="267" y="2332"/>
                    <a:pt x="267" y="2309"/>
                    <a:pt x="282" y="2309"/>
                  </a:cubicBezTo>
                  <a:cubicBezTo>
                    <a:pt x="327" y="2309"/>
                    <a:pt x="386" y="2324"/>
                    <a:pt x="423" y="2347"/>
                  </a:cubicBezTo>
                  <a:cubicBezTo>
                    <a:pt x="475" y="2384"/>
                    <a:pt x="453" y="2443"/>
                    <a:pt x="453" y="2503"/>
                  </a:cubicBezTo>
                  <a:cubicBezTo>
                    <a:pt x="453" y="2532"/>
                    <a:pt x="453" y="2555"/>
                    <a:pt x="438" y="2577"/>
                  </a:cubicBezTo>
                  <a:cubicBezTo>
                    <a:pt x="423" y="2606"/>
                    <a:pt x="401" y="2614"/>
                    <a:pt x="386" y="2629"/>
                  </a:cubicBezTo>
                  <a:cubicBezTo>
                    <a:pt x="364" y="2658"/>
                    <a:pt x="356" y="2748"/>
                    <a:pt x="371" y="2785"/>
                  </a:cubicBezTo>
                  <a:cubicBezTo>
                    <a:pt x="379" y="2807"/>
                    <a:pt x="408" y="2807"/>
                    <a:pt x="408" y="2829"/>
                  </a:cubicBezTo>
                  <a:cubicBezTo>
                    <a:pt x="423" y="2844"/>
                    <a:pt x="408" y="2881"/>
                    <a:pt x="416" y="2903"/>
                  </a:cubicBezTo>
                  <a:cubicBezTo>
                    <a:pt x="460" y="2911"/>
                    <a:pt x="438" y="2933"/>
                    <a:pt x="453" y="2956"/>
                  </a:cubicBezTo>
                  <a:cubicBezTo>
                    <a:pt x="468" y="2963"/>
                    <a:pt x="490" y="2978"/>
                    <a:pt x="512" y="2978"/>
                  </a:cubicBezTo>
                  <a:cubicBezTo>
                    <a:pt x="557" y="3000"/>
                    <a:pt x="601" y="3000"/>
                    <a:pt x="653" y="3008"/>
                  </a:cubicBezTo>
                  <a:cubicBezTo>
                    <a:pt x="742" y="3008"/>
                    <a:pt x="735" y="3022"/>
                    <a:pt x="735" y="3097"/>
                  </a:cubicBezTo>
                  <a:cubicBezTo>
                    <a:pt x="735" y="3156"/>
                    <a:pt x="735" y="3201"/>
                    <a:pt x="750" y="3245"/>
                  </a:cubicBezTo>
                  <a:cubicBezTo>
                    <a:pt x="765" y="3297"/>
                    <a:pt x="787" y="3342"/>
                    <a:pt x="809" y="3386"/>
                  </a:cubicBezTo>
                  <a:cubicBezTo>
                    <a:pt x="824" y="3431"/>
                    <a:pt x="861" y="3460"/>
                    <a:pt x="869" y="3513"/>
                  </a:cubicBezTo>
                  <a:cubicBezTo>
                    <a:pt x="884" y="3572"/>
                    <a:pt x="906" y="3587"/>
                    <a:pt x="936" y="3639"/>
                  </a:cubicBezTo>
                  <a:cubicBezTo>
                    <a:pt x="965" y="3683"/>
                    <a:pt x="1039" y="3765"/>
                    <a:pt x="1025" y="3817"/>
                  </a:cubicBezTo>
                  <a:cubicBezTo>
                    <a:pt x="995" y="3810"/>
                    <a:pt x="950" y="3817"/>
                    <a:pt x="943" y="3854"/>
                  </a:cubicBezTo>
                  <a:cubicBezTo>
                    <a:pt x="950" y="3854"/>
                    <a:pt x="965" y="3847"/>
                    <a:pt x="973" y="3847"/>
                  </a:cubicBezTo>
                  <a:cubicBezTo>
                    <a:pt x="995" y="3832"/>
                    <a:pt x="1084" y="3810"/>
                    <a:pt x="1106" y="3832"/>
                  </a:cubicBezTo>
                </a:path>
              </a:pathLst>
            </a:custGeom>
            <a:grpFill/>
            <a:ln w="6350" cap="flat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lIns="60927" tIns="30463" rIns="60927" bIns="30463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7" name="Freeform 9"/>
            <p:cNvSpPr>
              <a:spLocks noChangeArrowheads="1"/>
            </p:cNvSpPr>
            <p:nvPr/>
          </p:nvSpPr>
          <p:spPr bwMode="auto">
            <a:xfrm>
              <a:off x="10898161" y="4758280"/>
              <a:ext cx="993215" cy="931592"/>
            </a:xfrm>
            <a:custGeom>
              <a:avLst/>
              <a:gdLst>
                <a:gd name="T0" fmla="*/ 995 w 2296"/>
                <a:gd name="T1" fmla="*/ 312 h 2155"/>
                <a:gd name="T2" fmla="*/ 743 w 2296"/>
                <a:gd name="T3" fmla="*/ 238 h 2155"/>
                <a:gd name="T4" fmla="*/ 498 w 2296"/>
                <a:gd name="T5" fmla="*/ 193 h 2155"/>
                <a:gd name="T6" fmla="*/ 342 w 2296"/>
                <a:gd name="T7" fmla="*/ 297 h 2155"/>
                <a:gd name="T8" fmla="*/ 179 w 2296"/>
                <a:gd name="T9" fmla="*/ 371 h 2155"/>
                <a:gd name="T10" fmla="*/ 141 w 2296"/>
                <a:gd name="T11" fmla="*/ 394 h 2155"/>
                <a:gd name="T12" fmla="*/ 156 w 2296"/>
                <a:gd name="T13" fmla="*/ 461 h 2155"/>
                <a:gd name="T14" fmla="*/ 97 w 2296"/>
                <a:gd name="T15" fmla="*/ 594 h 2155"/>
                <a:gd name="T16" fmla="*/ 119 w 2296"/>
                <a:gd name="T17" fmla="*/ 758 h 2155"/>
                <a:gd name="T18" fmla="*/ 30 w 2296"/>
                <a:gd name="T19" fmla="*/ 861 h 2155"/>
                <a:gd name="T20" fmla="*/ 30 w 2296"/>
                <a:gd name="T21" fmla="*/ 861 h 2155"/>
                <a:gd name="T22" fmla="*/ 238 w 2296"/>
                <a:gd name="T23" fmla="*/ 980 h 2155"/>
                <a:gd name="T24" fmla="*/ 127 w 2296"/>
                <a:gd name="T25" fmla="*/ 1129 h 2155"/>
                <a:gd name="T26" fmla="*/ 97 w 2296"/>
                <a:gd name="T27" fmla="*/ 1352 h 2155"/>
                <a:gd name="T28" fmla="*/ 216 w 2296"/>
                <a:gd name="T29" fmla="*/ 1411 h 2155"/>
                <a:gd name="T30" fmla="*/ 357 w 2296"/>
                <a:gd name="T31" fmla="*/ 1389 h 2155"/>
                <a:gd name="T32" fmla="*/ 527 w 2296"/>
                <a:gd name="T33" fmla="*/ 1322 h 2155"/>
                <a:gd name="T34" fmla="*/ 758 w 2296"/>
                <a:gd name="T35" fmla="*/ 1560 h 2155"/>
                <a:gd name="T36" fmla="*/ 758 w 2296"/>
                <a:gd name="T37" fmla="*/ 1656 h 2155"/>
                <a:gd name="T38" fmla="*/ 832 w 2296"/>
                <a:gd name="T39" fmla="*/ 1782 h 2155"/>
                <a:gd name="T40" fmla="*/ 995 w 2296"/>
                <a:gd name="T41" fmla="*/ 1909 h 2155"/>
                <a:gd name="T42" fmla="*/ 1189 w 2296"/>
                <a:gd name="T43" fmla="*/ 2028 h 2155"/>
                <a:gd name="T44" fmla="*/ 1463 w 2296"/>
                <a:gd name="T45" fmla="*/ 2035 h 2155"/>
                <a:gd name="T46" fmla="*/ 1500 w 2296"/>
                <a:gd name="T47" fmla="*/ 2094 h 2155"/>
                <a:gd name="T48" fmla="*/ 1604 w 2296"/>
                <a:gd name="T49" fmla="*/ 2154 h 2155"/>
                <a:gd name="T50" fmla="*/ 1649 w 2296"/>
                <a:gd name="T51" fmla="*/ 2020 h 2155"/>
                <a:gd name="T52" fmla="*/ 1768 w 2296"/>
                <a:gd name="T53" fmla="*/ 1820 h 2155"/>
                <a:gd name="T54" fmla="*/ 1820 w 2296"/>
                <a:gd name="T55" fmla="*/ 1701 h 2155"/>
                <a:gd name="T56" fmla="*/ 1849 w 2296"/>
                <a:gd name="T57" fmla="*/ 1663 h 2155"/>
                <a:gd name="T58" fmla="*/ 1857 w 2296"/>
                <a:gd name="T59" fmla="*/ 1485 h 2155"/>
                <a:gd name="T60" fmla="*/ 1916 w 2296"/>
                <a:gd name="T61" fmla="*/ 1307 h 2155"/>
                <a:gd name="T62" fmla="*/ 2028 w 2296"/>
                <a:gd name="T63" fmla="*/ 1218 h 2155"/>
                <a:gd name="T64" fmla="*/ 2124 w 2296"/>
                <a:gd name="T65" fmla="*/ 1144 h 2155"/>
                <a:gd name="T66" fmla="*/ 2258 w 2296"/>
                <a:gd name="T67" fmla="*/ 1025 h 2155"/>
                <a:gd name="T68" fmla="*/ 2198 w 2296"/>
                <a:gd name="T69" fmla="*/ 921 h 2155"/>
                <a:gd name="T70" fmla="*/ 2072 w 2296"/>
                <a:gd name="T71" fmla="*/ 802 h 2155"/>
                <a:gd name="T72" fmla="*/ 1968 w 2296"/>
                <a:gd name="T73" fmla="*/ 750 h 2155"/>
                <a:gd name="T74" fmla="*/ 1782 w 2296"/>
                <a:gd name="T75" fmla="*/ 713 h 2155"/>
                <a:gd name="T76" fmla="*/ 1723 w 2296"/>
                <a:gd name="T77" fmla="*/ 550 h 2155"/>
                <a:gd name="T78" fmla="*/ 1671 w 2296"/>
                <a:gd name="T79" fmla="*/ 505 h 2155"/>
                <a:gd name="T80" fmla="*/ 1545 w 2296"/>
                <a:gd name="T81" fmla="*/ 401 h 2155"/>
                <a:gd name="T82" fmla="*/ 1396 w 2296"/>
                <a:gd name="T83" fmla="*/ 409 h 2155"/>
                <a:gd name="T84" fmla="*/ 1285 w 2296"/>
                <a:gd name="T85" fmla="*/ 319 h 2155"/>
                <a:gd name="T86" fmla="*/ 1196 w 2296"/>
                <a:gd name="T87" fmla="*/ 223 h 2155"/>
                <a:gd name="T88" fmla="*/ 1107 w 2296"/>
                <a:gd name="T89" fmla="*/ 104 h 2155"/>
                <a:gd name="T90" fmla="*/ 1040 w 2296"/>
                <a:gd name="T91" fmla="*/ 52 h 2155"/>
                <a:gd name="T92" fmla="*/ 981 w 2296"/>
                <a:gd name="T93" fmla="*/ 119 h 2155"/>
                <a:gd name="T94" fmla="*/ 958 w 2296"/>
                <a:gd name="T95" fmla="*/ 245 h 2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296" h="2155">
                  <a:moveTo>
                    <a:pt x="995" y="312"/>
                  </a:moveTo>
                  <a:lnTo>
                    <a:pt x="995" y="312"/>
                  </a:lnTo>
                  <a:cubicBezTo>
                    <a:pt x="995" y="327"/>
                    <a:pt x="899" y="319"/>
                    <a:pt x="884" y="319"/>
                  </a:cubicBezTo>
                  <a:cubicBezTo>
                    <a:pt x="891" y="253"/>
                    <a:pt x="787" y="238"/>
                    <a:pt x="743" y="238"/>
                  </a:cubicBezTo>
                  <a:cubicBezTo>
                    <a:pt x="698" y="238"/>
                    <a:pt x="676" y="238"/>
                    <a:pt x="639" y="223"/>
                  </a:cubicBezTo>
                  <a:cubicBezTo>
                    <a:pt x="602" y="208"/>
                    <a:pt x="535" y="193"/>
                    <a:pt x="498" y="193"/>
                  </a:cubicBezTo>
                  <a:cubicBezTo>
                    <a:pt x="468" y="245"/>
                    <a:pt x="409" y="208"/>
                    <a:pt x="372" y="238"/>
                  </a:cubicBezTo>
                  <a:cubicBezTo>
                    <a:pt x="364" y="253"/>
                    <a:pt x="357" y="297"/>
                    <a:pt x="342" y="297"/>
                  </a:cubicBezTo>
                  <a:cubicBezTo>
                    <a:pt x="320" y="305"/>
                    <a:pt x="305" y="275"/>
                    <a:pt x="290" y="267"/>
                  </a:cubicBezTo>
                  <a:cubicBezTo>
                    <a:pt x="245" y="253"/>
                    <a:pt x="179" y="334"/>
                    <a:pt x="179" y="371"/>
                  </a:cubicBezTo>
                  <a:cubicBezTo>
                    <a:pt x="186" y="371"/>
                    <a:pt x="193" y="379"/>
                    <a:pt x="201" y="371"/>
                  </a:cubicBezTo>
                  <a:cubicBezTo>
                    <a:pt x="208" y="409"/>
                    <a:pt x="156" y="394"/>
                    <a:pt x="141" y="394"/>
                  </a:cubicBezTo>
                  <a:cubicBezTo>
                    <a:pt x="134" y="424"/>
                    <a:pt x="141" y="438"/>
                    <a:pt x="149" y="461"/>
                  </a:cubicBezTo>
                  <a:cubicBezTo>
                    <a:pt x="156" y="461"/>
                    <a:pt x="156" y="461"/>
                    <a:pt x="156" y="461"/>
                  </a:cubicBezTo>
                  <a:cubicBezTo>
                    <a:pt x="156" y="468"/>
                    <a:pt x="156" y="475"/>
                    <a:pt x="156" y="475"/>
                  </a:cubicBezTo>
                  <a:cubicBezTo>
                    <a:pt x="127" y="468"/>
                    <a:pt x="89" y="572"/>
                    <a:pt x="97" y="594"/>
                  </a:cubicBezTo>
                  <a:cubicBezTo>
                    <a:pt x="141" y="594"/>
                    <a:pt x="104" y="676"/>
                    <a:pt x="97" y="706"/>
                  </a:cubicBezTo>
                  <a:cubicBezTo>
                    <a:pt x="134" y="706"/>
                    <a:pt x="141" y="743"/>
                    <a:pt x="119" y="758"/>
                  </a:cubicBezTo>
                  <a:cubicBezTo>
                    <a:pt x="97" y="772"/>
                    <a:pt x="37" y="802"/>
                    <a:pt x="0" y="824"/>
                  </a:cubicBezTo>
                  <a:cubicBezTo>
                    <a:pt x="8" y="839"/>
                    <a:pt x="15" y="854"/>
                    <a:pt x="30" y="861"/>
                  </a:cubicBezTo>
                  <a:cubicBezTo>
                    <a:pt x="45" y="854"/>
                    <a:pt x="52" y="847"/>
                    <a:pt x="60" y="839"/>
                  </a:cubicBezTo>
                  <a:cubicBezTo>
                    <a:pt x="52" y="847"/>
                    <a:pt x="45" y="854"/>
                    <a:pt x="30" y="861"/>
                  </a:cubicBezTo>
                  <a:cubicBezTo>
                    <a:pt x="45" y="884"/>
                    <a:pt x="67" y="891"/>
                    <a:pt x="82" y="906"/>
                  </a:cubicBezTo>
                  <a:cubicBezTo>
                    <a:pt x="127" y="943"/>
                    <a:pt x="186" y="951"/>
                    <a:pt x="238" y="980"/>
                  </a:cubicBezTo>
                  <a:cubicBezTo>
                    <a:pt x="216" y="973"/>
                    <a:pt x="193" y="988"/>
                    <a:pt x="179" y="995"/>
                  </a:cubicBezTo>
                  <a:cubicBezTo>
                    <a:pt x="164" y="1040"/>
                    <a:pt x="156" y="1092"/>
                    <a:pt x="127" y="1129"/>
                  </a:cubicBezTo>
                  <a:cubicBezTo>
                    <a:pt x="97" y="1166"/>
                    <a:pt x="37" y="1203"/>
                    <a:pt x="67" y="1248"/>
                  </a:cubicBezTo>
                  <a:cubicBezTo>
                    <a:pt x="89" y="1277"/>
                    <a:pt x="75" y="1337"/>
                    <a:pt x="97" y="1352"/>
                  </a:cubicBezTo>
                  <a:cubicBezTo>
                    <a:pt x="134" y="1374"/>
                    <a:pt x="193" y="1352"/>
                    <a:pt x="230" y="1344"/>
                  </a:cubicBezTo>
                  <a:cubicBezTo>
                    <a:pt x="223" y="1366"/>
                    <a:pt x="238" y="1389"/>
                    <a:pt x="216" y="1411"/>
                  </a:cubicBezTo>
                  <a:cubicBezTo>
                    <a:pt x="238" y="1418"/>
                    <a:pt x="275" y="1478"/>
                    <a:pt x="290" y="1456"/>
                  </a:cubicBezTo>
                  <a:cubicBezTo>
                    <a:pt x="327" y="1426"/>
                    <a:pt x="305" y="1404"/>
                    <a:pt x="357" y="1389"/>
                  </a:cubicBezTo>
                  <a:cubicBezTo>
                    <a:pt x="394" y="1374"/>
                    <a:pt x="387" y="1329"/>
                    <a:pt x="424" y="1329"/>
                  </a:cubicBezTo>
                  <a:cubicBezTo>
                    <a:pt x="468" y="1337"/>
                    <a:pt x="490" y="1292"/>
                    <a:pt x="527" y="1322"/>
                  </a:cubicBezTo>
                  <a:cubicBezTo>
                    <a:pt x="572" y="1352"/>
                    <a:pt x="579" y="1396"/>
                    <a:pt x="609" y="1441"/>
                  </a:cubicBezTo>
                  <a:cubicBezTo>
                    <a:pt x="646" y="1485"/>
                    <a:pt x="706" y="1515"/>
                    <a:pt x="758" y="1560"/>
                  </a:cubicBezTo>
                  <a:cubicBezTo>
                    <a:pt x="773" y="1574"/>
                    <a:pt x="847" y="1604"/>
                    <a:pt x="854" y="1626"/>
                  </a:cubicBezTo>
                  <a:cubicBezTo>
                    <a:pt x="854" y="1656"/>
                    <a:pt x="780" y="1656"/>
                    <a:pt x="758" y="1656"/>
                  </a:cubicBezTo>
                  <a:cubicBezTo>
                    <a:pt x="750" y="1671"/>
                    <a:pt x="743" y="1693"/>
                    <a:pt x="743" y="1708"/>
                  </a:cubicBezTo>
                  <a:cubicBezTo>
                    <a:pt x="787" y="1723"/>
                    <a:pt x="787" y="1775"/>
                    <a:pt x="832" y="1782"/>
                  </a:cubicBezTo>
                  <a:cubicBezTo>
                    <a:pt x="832" y="1849"/>
                    <a:pt x="891" y="1820"/>
                    <a:pt x="936" y="1820"/>
                  </a:cubicBezTo>
                  <a:cubicBezTo>
                    <a:pt x="1003" y="1820"/>
                    <a:pt x="995" y="1857"/>
                    <a:pt x="995" y="1909"/>
                  </a:cubicBezTo>
                  <a:cubicBezTo>
                    <a:pt x="1047" y="1909"/>
                    <a:pt x="1084" y="1953"/>
                    <a:pt x="1129" y="1968"/>
                  </a:cubicBezTo>
                  <a:cubicBezTo>
                    <a:pt x="1174" y="1976"/>
                    <a:pt x="1189" y="1983"/>
                    <a:pt x="1189" y="2028"/>
                  </a:cubicBezTo>
                  <a:cubicBezTo>
                    <a:pt x="1233" y="2035"/>
                    <a:pt x="1270" y="2028"/>
                    <a:pt x="1315" y="2035"/>
                  </a:cubicBezTo>
                  <a:cubicBezTo>
                    <a:pt x="1367" y="2050"/>
                    <a:pt x="1411" y="2020"/>
                    <a:pt x="1463" y="2035"/>
                  </a:cubicBezTo>
                  <a:cubicBezTo>
                    <a:pt x="1463" y="2057"/>
                    <a:pt x="1463" y="2079"/>
                    <a:pt x="1463" y="2094"/>
                  </a:cubicBezTo>
                  <a:cubicBezTo>
                    <a:pt x="1478" y="2094"/>
                    <a:pt x="1485" y="2094"/>
                    <a:pt x="1500" y="2094"/>
                  </a:cubicBezTo>
                  <a:cubicBezTo>
                    <a:pt x="1500" y="2131"/>
                    <a:pt x="1552" y="2094"/>
                    <a:pt x="1552" y="2154"/>
                  </a:cubicBezTo>
                  <a:cubicBezTo>
                    <a:pt x="1567" y="2154"/>
                    <a:pt x="1589" y="2154"/>
                    <a:pt x="1604" y="2154"/>
                  </a:cubicBezTo>
                  <a:cubicBezTo>
                    <a:pt x="1619" y="2139"/>
                    <a:pt x="1656" y="2087"/>
                    <a:pt x="1693" y="2050"/>
                  </a:cubicBezTo>
                  <a:cubicBezTo>
                    <a:pt x="1671" y="2042"/>
                    <a:pt x="1656" y="2035"/>
                    <a:pt x="1649" y="2020"/>
                  </a:cubicBezTo>
                  <a:cubicBezTo>
                    <a:pt x="1634" y="1990"/>
                    <a:pt x="1664" y="1961"/>
                    <a:pt x="1679" y="1938"/>
                  </a:cubicBezTo>
                  <a:cubicBezTo>
                    <a:pt x="1716" y="1901"/>
                    <a:pt x="1738" y="1864"/>
                    <a:pt x="1768" y="1820"/>
                  </a:cubicBezTo>
                  <a:cubicBezTo>
                    <a:pt x="1782" y="1790"/>
                    <a:pt x="1790" y="1738"/>
                    <a:pt x="1812" y="1723"/>
                  </a:cubicBezTo>
                  <a:cubicBezTo>
                    <a:pt x="1820" y="1716"/>
                    <a:pt x="1820" y="1708"/>
                    <a:pt x="1820" y="1701"/>
                  </a:cubicBezTo>
                  <a:cubicBezTo>
                    <a:pt x="1834" y="1701"/>
                    <a:pt x="1849" y="1701"/>
                    <a:pt x="1864" y="1701"/>
                  </a:cubicBezTo>
                  <a:cubicBezTo>
                    <a:pt x="1872" y="1686"/>
                    <a:pt x="1872" y="1663"/>
                    <a:pt x="1849" y="1663"/>
                  </a:cubicBezTo>
                  <a:cubicBezTo>
                    <a:pt x="1834" y="1626"/>
                    <a:pt x="1820" y="1582"/>
                    <a:pt x="1834" y="1545"/>
                  </a:cubicBezTo>
                  <a:cubicBezTo>
                    <a:pt x="1849" y="1537"/>
                    <a:pt x="1842" y="1508"/>
                    <a:pt x="1857" y="1485"/>
                  </a:cubicBezTo>
                  <a:cubicBezTo>
                    <a:pt x="1872" y="1463"/>
                    <a:pt x="1894" y="1478"/>
                    <a:pt x="1909" y="1456"/>
                  </a:cubicBezTo>
                  <a:cubicBezTo>
                    <a:pt x="1946" y="1426"/>
                    <a:pt x="1901" y="1352"/>
                    <a:pt x="1916" y="1307"/>
                  </a:cubicBezTo>
                  <a:cubicBezTo>
                    <a:pt x="1924" y="1285"/>
                    <a:pt x="1953" y="1285"/>
                    <a:pt x="1976" y="1277"/>
                  </a:cubicBezTo>
                  <a:cubicBezTo>
                    <a:pt x="2005" y="1263"/>
                    <a:pt x="2013" y="1248"/>
                    <a:pt x="2028" y="1218"/>
                  </a:cubicBezTo>
                  <a:cubicBezTo>
                    <a:pt x="2035" y="1203"/>
                    <a:pt x="2035" y="1173"/>
                    <a:pt x="2050" y="1159"/>
                  </a:cubicBezTo>
                  <a:cubicBezTo>
                    <a:pt x="2072" y="1144"/>
                    <a:pt x="2102" y="1151"/>
                    <a:pt x="2124" y="1144"/>
                  </a:cubicBezTo>
                  <a:cubicBezTo>
                    <a:pt x="2131" y="1114"/>
                    <a:pt x="2176" y="1084"/>
                    <a:pt x="2191" y="1047"/>
                  </a:cubicBezTo>
                  <a:cubicBezTo>
                    <a:pt x="2213" y="1018"/>
                    <a:pt x="2221" y="1018"/>
                    <a:pt x="2258" y="1025"/>
                  </a:cubicBezTo>
                  <a:cubicBezTo>
                    <a:pt x="2295" y="1032"/>
                    <a:pt x="2250" y="966"/>
                    <a:pt x="2250" y="966"/>
                  </a:cubicBezTo>
                  <a:cubicBezTo>
                    <a:pt x="2236" y="943"/>
                    <a:pt x="2228" y="928"/>
                    <a:pt x="2198" y="921"/>
                  </a:cubicBezTo>
                  <a:cubicBezTo>
                    <a:pt x="2154" y="914"/>
                    <a:pt x="2146" y="921"/>
                    <a:pt x="2117" y="876"/>
                  </a:cubicBezTo>
                  <a:cubicBezTo>
                    <a:pt x="2102" y="847"/>
                    <a:pt x="2102" y="817"/>
                    <a:pt x="2072" y="802"/>
                  </a:cubicBezTo>
                  <a:cubicBezTo>
                    <a:pt x="2057" y="802"/>
                    <a:pt x="2042" y="802"/>
                    <a:pt x="2028" y="795"/>
                  </a:cubicBezTo>
                  <a:cubicBezTo>
                    <a:pt x="1998" y="780"/>
                    <a:pt x="1991" y="765"/>
                    <a:pt x="1968" y="750"/>
                  </a:cubicBezTo>
                  <a:cubicBezTo>
                    <a:pt x="1938" y="743"/>
                    <a:pt x="1901" y="735"/>
                    <a:pt x="1872" y="735"/>
                  </a:cubicBezTo>
                  <a:cubicBezTo>
                    <a:pt x="1849" y="735"/>
                    <a:pt x="1797" y="735"/>
                    <a:pt x="1782" y="713"/>
                  </a:cubicBezTo>
                  <a:cubicBezTo>
                    <a:pt x="1760" y="683"/>
                    <a:pt x="1760" y="624"/>
                    <a:pt x="1768" y="587"/>
                  </a:cubicBezTo>
                  <a:cubicBezTo>
                    <a:pt x="1745" y="587"/>
                    <a:pt x="1731" y="564"/>
                    <a:pt x="1723" y="550"/>
                  </a:cubicBezTo>
                  <a:cubicBezTo>
                    <a:pt x="1716" y="542"/>
                    <a:pt x="1716" y="535"/>
                    <a:pt x="1708" y="520"/>
                  </a:cubicBezTo>
                  <a:cubicBezTo>
                    <a:pt x="1701" y="513"/>
                    <a:pt x="1686" y="505"/>
                    <a:pt x="1671" y="505"/>
                  </a:cubicBezTo>
                  <a:cubicBezTo>
                    <a:pt x="1656" y="498"/>
                    <a:pt x="1634" y="505"/>
                    <a:pt x="1612" y="498"/>
                  </a:cubicBezTo>
                  <a:cubicBezTo>
                    <a:pt x="1597" y="490"/>
                    <a:pt x="1537" y="431"/>
                    <a:pt x="1545" y="401"/>
                  </a:cubicBezTo>
                  <a:cubicBezTo>
                    <a:pt x="1515" y="394"/>
                    <a:pt x="1500" y="371"/>
                    <a:pt x="1463" y="379"/>
                  </a:cubicBezTo>
                  <a:cubicBezTo>
                    <a:pt x="1441" y="379"/>
                    <a:pt x="1419" y="401"/>
                    <a:pt x="1396" y="409"/>
                  </a:cubicBezTo>
                  <a:cubicBezTo>
                    <a:pt x="1396" y="409"/>
                    <a:pt x="1396" y="409"/>
                    <a:pt x="1396" y="416"/>
                  </a:cubicBezTo>
                  <a:cubicBezTo>
                    <a:pt x="1329" y="431"/>
                    <a:pt x="1315" y="357"/>
                    <a:pt x="1285" y="319"/>
                  </a:cubicBezTo>
                  <a:cubicBezTo>
                    <a:pt x="1263" y="305"/>
                    <a:pt x="1233" y="305"/>
                    <a:pt x="1218" y="282"/>
                  </a:cubicBezTo>
                  <a:cubicBezTo>
                    <a:pt x="1203" y="260"/>
                    <a:pt x="1218" y="238"/>
                    <a:pt x="1196" y="223"/>
                  </a:cubicBezTo>
                  <a:cubicBezTo>
                    <a:pt x="1144" y="208"/>
                    <a:pt x="1174" y="156"/>
                    <a:pt x="1159" y="104"/>
                  </a:cubicBezTo>
                  <a:cubicBezTo>
                    <a:pt x="1144" y="112"/>
                    <a:pt x="1122" y="97"/>
                    <a:pt x="1107" y="104"/>
                  </a:cubicBezTo>
                  <a:cubicBezTo>
                    <a:pt x="1136" y="97"/>
                    <a:pt x="1062" y="8"/>
                    <a:pt x="1040" y="0"/>
                  </a:cubicBezTo>
                  <a:cubicBezTo>
                    <a:pt x="1040" y="15"/>
                    <a:pt x="1047" y="37"/>
                    <a:pt x="1040" y="52"/>
                  </a:cubicBezTo>
                  <a:cubicBezTo>
                    <a:pt x="1025" y="59"/>
                    <a:pt x="1010" y="52"/>
                    <a:pt x="1003" y="59"/>
                  </a:cubicBezTo>
                  <a:cubicBezTo>
                    <a:pt x="973" y="74"/>
                    <a:pt x="995" y="97"/>
                    <a:pt x="981" y="119"/>
                  </a:cubicBezTo>
                  <a:cubicBezTo>
                    <a:pt x="973" y="141"/>
                    <a:pt x="951" y="141"/>
                    <a:pt x="936" y="141"/>
                  </a:cubicBezTo>
                  <a:cubicBezTo>
                    <a:pt x="943" y="186"/>
                    <a:pt x="951" y="230"/>
                    <a:pt x="958" y="245"/>
                  </a:cubicBezTo>
                  <a:cubicBezTo>
                    <a:pt x="973" y="267"/>
                    <a:pt x="988" y="290"/>
                    <a:pt x="995" y="312"/>
                  </a:cubicBezTo>
                </a:path>
              </a:pathLst>
            </a:custGeom>
            <a:grpFill/>
            <a:ln w="6350" cap="flat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lIns="60927" tIns="30463" rIns="60927" bIns="30463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8" name="Freeform 10"/>
            <p:cNvSpPr>
              <a:spLocks noChangeArrowheads="1"/>
            </p:cNvSpPr>
            <p:nvPr/>
          </p:nvSpPr>
          <p:spPr bwMode="auto">
            <a:xfrm>
              <a:off x="10728493" y="5131678"/>
              <a:ext cx="2148475" cy="2118469"/>
            </a:xfrm>
            <a:custGeom>
              <a:avLst/>
              <a:gdLst>
                <a:gd name="T0" fmla="*/ 1708 w 4968"/>
                <a:gd name="T1" fmla="*/ 1174 h 4903"/>
                <a:gd name="T2" fmla="*/ 1136 w 4968"/>
                <a:gd name="T3" fmla="*/ 847 h 4903"/>
                <a:gd name="T4" fmla="*/ 817 w 4968"/>
                <a:gd name="T5" fmla="*/ 468 h 4903"/>
                <a:gd name="T6" fmla="*/ 460 w 4968"/>
                <a:gd name="T7" fmla="*/ 387 h 4903"/>
                <a:gd name="T8" fmla="*/ 386 w 4968"/>
                <a:gd name="T9" fmla="*/ 30 h 4903"/>
                <a:gd name="T10" fmla="*/ 59 w 4968"/>
                <a:gd name="T11" fmla="*/ 528 h 4903"/>
                <a:gd name="T12" fmla="*/ 81 w 4968"/>
                <a:gd name="T13" fmla="*/ 1129 h 4903"/>
                <a:gd name="T14" fmla="*/ 104 w 4968"/>
                <a:gd name="T15" fmla="*/ 1174 h 4903"/>
                <a:gd name="T16" fmla="*/ 133 w 4968"/>
                <a:gd name="T17" fmla="*/ 1270 h 4903"/>
                <a:gd name="T18" fmla="*/ 260 w 4968"/>
                <a:gd name="T19" fmla="*/ 1582 h 4903"/>
                <a:gd name="T20" fmla="*/ 289 w 4968"/>
                <a:gd name="T21" fmla="*/ 1805 h 4903"/>
                <a:gd name="T22" fmla="*/ 341 w 4968"/>
                <a:gd name="T23" fmla="*/ 2236 h 4903"/>
                <a:gd name="T24" fmla="*/ 341 w 4968"/>
                <a:gd name="T25" fmla="*/ 2518 h 4903"/>
                <a:gd name="T26" fmla="*/ 482 w 4968"/>
                <a:gd name="T27" fmla="*/ 2563 h 4903"/>
                <a:gd name="T28" fmla="*/ 742 w 4968"/>
                <a:gd name="T29" fmla="*/ 2563 h 4903"/>
                <a:gd name="T30" fmla="*/ 935 w 4968"/>
                <a:gd name="T31" fmla="*/ 2644 h 4903"/>
                <a:gd name="T32" fmla="*/ 1284 w 4968"/>
                <a:gd name="T33" fmla="*/ 2889 h 4903"/>
                <a:gd name="T34" fmla="*/ 1069 w 4968"/>
                <a:gd name="T35" fmla="*/ 3402 h 4903"/>
                <a:gd name="T36" fmla="*/ 817 w 4968"/>
                <a:gd name="T37" fmla="*/ 3610 h 4903"/>
                <a:gd name="T38" fmla="*/ 705 w 4968"/>
                <a:gd name="T39" fmla="*/ 3988 h 4903"/>
                <a:gd name="T40" fmla="*/ 831 w 4968"/>
                <a:gd name="T41" fmla="*/ 4389 h 4903"/>
                <a:gd name="T42" fmla="*/ 1180 w 4968"/>
                <a:gd name="T43" fmla="*/ 4412 h 4903"/>
                <a:gd name="T44" fmla="*/ 1039 w 4968"/>
                <a:gd name="T45" fmla="*/ 4070 h 4903"/>
                <a:gd name="T46" fmla="*/ 980 w 4968"/>
                <a:gd name="T47" fmla="*/ 3691 h 4903"/>
                <a:gd name="T48" fmla="*/ 1173 w 4968"/>
                <a:gd name="T49" fmla="*/ 3691 h 4903"/>
                <a:gd name="T50" fmla="*/ 1136 w 4968"/>
                <a:gd name="T51" fmla="*/ 3825 h 4903"/>
                <a:gd name="T52" fmla="*/ 1396 w 4968"/>
                <a:gd name="T53" fmla="*/ 3862 h 4903"/>
                <a:gd name="T54" fmla="*/ 1485 w 4968"/>
                <a:gd name="T55" fmla="*/ 3884 h 4903"/>
                <a:gd name="T56" fmla="*/ 1975 w 4968"/>
                <a:gd name="T57" fmla="*/ 3736 h 4903"/>
                <a:gd name="T58" fmla="*/ 2101 w 4968"/>
                <a:gd name="T59" fmla="*/ 3951 h 4903"/>
                <a:gd name="T60" fmla="*/ 2198 w 4968"/>
                <a:gd name="T61" fmla="*/ 3929 h 4903"/>
                <a:gd name="T62" fmla="*/ 2346 w 4968"/>
                <a:gd name="T63" fmla="*/ 3914 h 4903"/>
                <a:gd name="T64" fmla="*/ 2435 w 4968"/>
                <a:gd name="T65" fmla="*/ 3973 h 4903"/>
                <a:gd name="T66" fmla="*/ 2740 w 4968"/>
                <a:gd name="T67" fmla="*/ 3936 h 4903"/>
                <a:gd name="T68" fmla="*/ 2948 w 4968"/>
                <a:gd name="T69" fmla="*/ 3981 h 4903"/>
                <a:gd name="T70" fmla="*/ 3364 w 4968"/>
                <a:gd name="T71" fmla="*/ 4196 h 4903"/>
                <a:gd name="T72" fmla="*/ 3637 w 4968"/>
                <a:gd name="T73" fmla="*/ 4263 h 4903"/>
                <a:gd name="T74" fmla="*/ 3697 w 4968"/>
                <a:gd name="T75" fmla="*/ 4441 h 4903"/>
                <a:gd name="T76" fmla="*/ 3704 w 4968"/>
                <a:gd name="T77" fmla="*/ 4746 h 4903"/>
                <a:gd name="T78" fmla="*/ 4001 w 4968"/>
                <a:gd name="T79" fmla="*/ 4887 h 4903"/>
                <a:gd name="T80" fmla="*/ 4113 w 4968"/>
                <a:gd name="T81" fmla="*/ 4701 h 4903"/>
                <a:gd name="T82" fmla="*/ 4105 w 4968"/>
                <a:gd name="T83" fmla="*/ 4412 h 4903"/>
                <a:gd name="T84" fmla="*/ 4105 w 4968"/>
                <a:gd name="T85" fmla="*/ 3936 h 4903"/>
                <a:gd name="T86" fmla="*/ 4595 w 4968"/>
                <a:gd name="T87" fmla="*/ 3543 h 4903"/>
                <a:gd name="T88" fmla="*/ 4662 w 4968"/>
                <a:gd name="T89" fmla="*/ 3313 h 4903"/>
                <a:gd name="T90" fmla="*/ 4506 w 4968"/>
                <a:gd name="T91" fmla="*/ 2986 h 4903"/>
                <a:gd name="T92" fmla="*/ 4714 w 4968"/>
                <a:gd name="T93" fmla="*/ 2785 h 4903"/>
                <a:gd name="T94" fmla="*/ 4417 w 4968"/>
                <a:gd name="T95" fmla="*/ 2258 h 4903"/>
                <a:gd name="T96" fmla="*/ 3994 w 4968"/>
                <a:gd name="T97" fmla="*/ 2184 h 4903"/>
                <a:gd name="T98" fmla="*/ 3475 w 4968"/>
                <a:gd name="T99" fmla="*/ 1961 h 4903"/>
                <a:gd name="T100" fmla="*/ 2985 w 4968"/>
                <a:gd name="T101" fmla="*/ 1783 h 4903"/>
                <a:gd name="T102" fmla="*/ 2718 w 4968"/>
                <a:gd name="T103" fmla="*/ 1501 h 4903"/>
                <a:gd name="T104" fmla="*/ 2369 w 4968"/>
                <a:gd name="T105" fmla="*/ 1307 h 4903"/>
                <a:gd name="T106" fmla="*/ 2094 w 4968"/>
                <a:gd name="T107" fmla="*/ 1189 h 4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968" h="4903">
                  <a:moveTo>
                    <a:pt x="1945" y="1293"/>
                  </a:moveTo>
                  <a:lnTo>
                    <a:pt x="1945" y="1293"/>
                  </a:lnTo>
                  <a:cubicBezTo>
                    <a:pt x="1945" y="1233"/>
                    <a:pt x="1893" y="1270"/>
                    <a:pt x="1893" y="1233"/>
                  </a:cubicBezTo>
                  <a:cubicBezTo>
                    <a:pt x="1878" y="1233"/>
                    <a:pt x="1871" y="1233"/>
                    <a:pt x="1856" y="1233"/>
                  </a:cubicBezTo>
                  <a:cubicBezTo>
                    <a:pt x="1856" y="1218"/>
                    <a:pt x="1856" y="1196"/>
                    <a:pt x="1856" y="1174"/>
                  </a:cubicBezTo>
                  <a:cubicBezTo>
                    <a:pt x="1804" y="1159"/>
                    <a:pt x="1760" y="1189"/>
                    <a:pt x="1708" y="1174"/>
                  </a:cubicBezTo>
                  <a:cubicBezTo>
                    <a:pt x="1663" y="1167"/>
                    <a:pt x="1626" y="1174"/>
                    <a:pt x="1582" y="1167"/>
                  </a:cubicBezTo>
                  <a:cubicBezTo>
                    <a:pt x="1582" y="1122"/>
                    <a:pt x="1567" y="1115"/>
                    <a:pt x="1522" y="1107"/>
                  </a:cubicBezTo>
                  <a:cubicBezTo>
                    <a:pt x="1477" y="1092"/>
                    <a:pt x="1440" y="1048"/>
                    <a:pt x="1388" y="1048"/>
                  </a:cubicBezTo>
                  <a:cubicBezTo>
                    <a:pt x="1388" y="996"/>
                    <a:pt x="1396" y="959"/>
                    <a:pt x="1329" y="959"/>
                  </a:cubicBezTo>
                  <a:cubicBezTo>
                    <a:pt x="1284" y="959"/>
                    <a:pt x="1225" y="988"/>
                    <a:pt x="1225" y="921"/>
                  </a:cubicBezTo>
                  <a:cubicBezTo>
                    <a:pt x="1180" y="914"/>
                    <a:pt x="1180" y="862"/>
                    <a:pt x="1136" y="847"/>
                  </a:cubicBezTo>
                  <a:cubicBezTo>
                    <a:pt x="1136" y="832"/>
                    <a:pt x="1143" y="810"/>
                    <a:pt x="1151" y="795"/>
                  </a:cubicBezTo>
                  <a:cubicBezTo>
                    <a:pt x="1173" y="795"/>
                    <a:pt x="1247" y="795"/>
                    <a:pt x="1247" y="765"/>
                  </a:cubicBezTo>
                  <a:cubicBezTo>
                    <a:pt x="1240" y="743"/>
                    <a:pt x="1166" y="713"/>
                    <a:pt x="1151" y="699"/>
                  </a:cubicBezTo>
                  <a:cubicBezTo>
                    <a:pt x="1099" y="654"/>
                    <a:pt x="1039" y="624"/>
                    <a:pt x="1002" y="580"/>
                  </a:cubicBezTo>
                  <a:cubicBezTo>
                    <a:pt x="972" y="535"/>
                    <a:pt x="965" y="491"/>
                    <a:pt x="920" y="461"/>
                  </a:cubicBezTo>
                  <a:cubicBezTo>
                    <a:pt x="883" y="431"/>
                    <a:pt x="861" y="476"/>
                    <a:pt x="817" y="468"/>
                  </a:cubicBezTo>
                  <a:cubicBezTo>
                    <a:pt x="780" y="468"/>
                    <a:pt x="787" y="513"/>
                    <a:pt x="750" y="528"/>
                  </a:cubicBezTo>
                  <a:cubicBezTo>
                    <a:pt x="698" y="543"/>
                    <a:pt x="720" y="565"/>
                    <a:pt x="683" y="595"/>
                  </a:cubicBezTo>
                  <a:cubicBezTo>
                    <a:pt x="668" y="617"/>
                    <a:pt x="631" y="557"/>
                    <a:pt x="609" y="550"/>
                  </a:cubicBezTo>
                  <a:cubicBezTo>
                    <a:pt x="631" y="528"/>
                    <a:pt x="616" y="505"/>
                    <a:pt x="623" y="483"/>
                  </a:cubicBezTo>
                  <a:cubicBezTo>
                    <a:pt x="586" y="491"/>
                    <a:pt x="527" y="513"/>
                    <a:pt x="490" y="491"/>
                  </a:cubicBezTo>
                  <a:cubicBezTo>
                    <a:pt x="468" y="476"/>
                    <a:pt x="482" y="416"/>
                    <a:pt x="460" y="387"/>
                  </a:cubicBezTo>
                  <a:cubicBezTo>
                    <a:pt x="430" y="342"/>
                    <a:pt x="490" y="305"/>
                    <a:pt x="520" y="268"/>
                  </a:cubicBezTo>
                  <a:cubicBezTo>
                    <a:pt x="549" y="231"/>
                    <a:pt x="557" y="179"/>
                    <a:pt x="572" y="134"/>
                  </a:cubicBezTo>
                  <a:cubicBezTo>
                    <a:pt x="586" y="127"/>
                    <a:pt x="609" y="112"/>
                    <a:pt x="631" y="119"/>
                  </a:cubicBezTo>
                  <a:cubicBezTo>
                    <a:pt x="579" y="90"/>
                    <a:pt x="520" y="82"/>
                    <a:pt x="475" y="45"/>
                  </a:cubicBezTo>
                  <a:cubicBezTo>
                    <a:pt x="460" y="30"/>
                    <a:pt x="438" y="23"/>
                    <a:pt x="423" y="0"/>
                  </a:cubicBezTo>
                  <a:cubicBezTo>
                    <a:pt x="408" y="15"/>
                    <a:pt x="393" y="30"/>
                    <a:pt x="386" y="30"/>
                  </a:cubicBezTo>
                  <a:cubicBezTo>
                    <a:pt x="356" y="105"/>
                    <a:pt x="267" y="149"/>
                    <a:pt x="260" y="231"/>
                  </a:cubicBezTo>
                  <a:cubicBezTo>
                    <a:pt x="237" y="231"/>
                    <a:pt x="208" y="223"/>
                    <a:pt x="200" y="253"/>
                  </a:cubicBezTo>
                  <a:cubicBezTo>
                    <a:pt x="200" y="275"/>
                    <a:pt x="185" y="275"/>
                    <a:pt x="178" y="298"/>
                  </a:cubicBezTo>
                  <a:cubicBezTo>
                    <a:pt x="118" y="298"/>
                    <a:pt x="126" y="357"/>
                    <a:pt x="126" y="394"/>
                  </a:cubicBezTo>
                  <a:cubicBezTo>
                    <a:pt x="126" y="424"/>
                    <a:pt x="111" y="439"/>
                    <a:pt x="96" y="454"/>
                  </a:cubicBezTo>
                  <a:cubicBezTo>
                    <a:pt x="74" y="476"/>
                    <a:pt x="74" y="505"/>
                    <a:pt x="59" y="528"/>
                  </a:cubicBezTo>
                  <a:lnTo>
                    <a:pt x="52" y="528"/>
                  </a:lnTo>
                  <a:cubicBezTo>
                    <a:pt x="22" y="602"/>
                    <a:pt x="0" y="706"/>
                    <a:pt x="22" y="780"/>
                  </a:cubicBezTo>
                  <a:cubicBezTo>
                    <a:pt x="44" y="855"/>
                    <a:pt x="44" y="1010"/>
                    <a:pt x="44" y="1107"/>
                  </a:cubicBezTo>
                  <a:cubicBezTo>
                    <a:pt x="44" y="1115"/>
                    <a:pt x="52" y="1115"/>
                    <a:pt x="52" y="1115"/>
                  </a:cubicBezTo>
                  <a:cubicBezTo>
                    <a:pt x="59" y="1115"/>
                    <a:pt x="59" y="1107"/>
                    <a:pt x="66" y="1107"/>
                  </a:cubicBezTo>
                  <a:cubicBezTo>
                    <a:pt x="74" y="1107"/>
                    <a:pt x="81" y="1129"/>
                    <a:pt x="81" y="1129"/>
                  </a:cubicBezTo>
                  <a:cubicBezTo>
                    <a:pt x="89" y="1144"/>
                    <a:pt x="74" y="1129"/>
                    <a:pt x="74" y="1137"/>
                  </a:cubicBezTo>
                  <a:cubicBezTo>
                    <a:pt x="66" y="1144"/>
                    <a:pt x="81" y="1152"/>
                    <a:pt x="81" y="1152"/>
                  </a:cubicBezTo>
                  <a:lnTo>
                    <a:pt x="89" y="1152"/>
                  </a:lnTo>
                  <a:cubicBezTo>
                    <a:pt x="89" y="1159"/>
                    <a:pt x="89" y="1159"/>
                    <a:pt x="89" y="1159"/>
                  </a:cubicBezTo>
                  <a:cubicBezTo>
                    <a:pt x="89" y="1159"/>
                    <a:pt x="89" y="1167"/>
                    <a:pt x="96" y="1174"/>
                  </a:cubicBezTo>
                  <a:cubicBezTo>
                    <a:pt x="96" y="1174"/>
                    <a:pt x="96" y="1174"/>
                    <a:pt x="104" y="1174"/>
                  </a:cubicBezTo>
                  <a:cubicBezTo>
                    <a:pt x="104" y="1181"/>
                    <a:pt x="104" y="1181"/>
                    <a:pt x="104" y="1181"/>
                  </a:cubicBezTo>
                  <a:cubicBezTo>
                    <a:pt x="111" y="1189"/>
                    <a:pt x="111" y="1189"/>
                    <a:pt x="118" y="1196"/>
                  </a:cubicBezTo>
                  <a:cubicBezTo>
                    <a:pt x="118" y="1211"/>
                    <a:pt x="126" y="1196"/>
                    <a:pt x="133" y="1196"/>
                  </a:cubicBezTo>
                  <a:cubicBezTo>
                    <a:pt x="141" y="1204"/>
                    <a:pt x="141" y="1218"/>
                    <a:pt x="133" y="1218"/>
                  </a:cubicBezTo>
                  <a:cubicBezTo>
                    <a:pt x="133" y="1226"/>
                    <a:pt x="133" y="1233"/>
                    <a:pt x="133" y="1241"/>
                  </a:cubicBezTo>
                  <a:cubicBezTo>
                    <a:pt x="141" y="1256"/>
                    <a:pt x="156" y="1263"/>
                    <a:pt x="133" y="1270"/>
                  </a:cubicBezTo>
                  <a:cubicBezTo>
                    <a:pt x="118" y="1278"/>
                    <a:pt x="118" y="1293"/>
                    <a:pt x="133" y="1300"/>
                  </a:cubicBezTo>
                  <a:cubicBezTo>
                    <a:pt x="141" y="1307"/>
                    <a:pt x="148" y="1322"/>
                    <a:pt x="133" y="1337"/>
                  </a:cubicBezTo>
                  <a:cubicBezTo>
                    <a:pt x="141" y="1345"/>
                    <a:pt x="148" y="1359"/>
                    <a:pt x="148" y="1359"/>
                  </a:cubicBezTo>
                  <a:cubicBezTo>
                    <a:pt x="156" y="1404"/>
                    <a:pt x="156" y="1426"/>
                    <a:pt x="185" y="1464"/>
                  </a:cubicBezTo>
                  <a:cubicBezTo>
                    <a:pt x="215" y="1493"/>
                    <a:pt x="237" y="1530"/>
                    <a:pt x="252" y="1575"/>
                  </a:cubicBezTo>
                  <a:cubicBezTo>
                    <a:pt x="252" y="1575"/>
                    <a:pt x="252" y="1582"/>
                    <a:pt x="260" y="1582"/>
                  </a:cubicBezTo>
                  <a:lnTo>
                    <a:pt x="260" y="1590"/>
                  </a:lnTo>
                  <a:cubicBezTo>
                    <a:pt x="282" y="1634"/>
                    <a:pt x="282" y="1672"/>
                    <a:pt x="282" y="1716"/>
                  </a:cubicBezTo>
                  <a:lnTo>
                    <a:pt x="282" y="1723"/>
                  </a:lnTo>
                  <a:cubicBezTo>
                    <a:pt x="282" y="1738"/>
                    <a:pt x="282" y="1753"/>
                    <a:pt x="289" y="1761"/>
                  </a:cubicBezTo>
                  <a:cubicBezTo>
                    <a:pt x="289" y="1768"/>
                    <a:pt x="289" y="1768"/>
                    <a:pt x="297" y="1775"/>
                  </a:cubicBezTo>
                  <a:cubicBezTo>
                    <a:pt x="297" y="1783"/>
                    <a:pt x="289" y="1798"/>
                    <a:pt x="289" y="1805"/>
                  </a:cubicBezTo>
                  <a:cubicBezTo>
                    <a:pt x="267" y="1820"/>
                    <a:pt x="230" y="1805"/>
                    <a:pt x="208" y="1812"/>
                  </a:cubicBezTo>
                  <a:lnTo>
                    <a:pt x="208" y="1812"/>
                  </a:lnTo>
                  <a:cubicBezTo>
                    <a:pt x="208" y="1835"/>
                    <a:pt x="200" y="1857"/>
                    <a:pt x="178" y="1879"/>
                  </a:cubicBezTo>
                  <a:cubicBezTo>
                    <a:pt x="111" y="1946"/>
                    <a:pt x="208" y="2080"/>
                    <a:pt x="208" y="2154"/>
                  </a:cubicBezTo>
                  <a:cubicBezTo>
                    <a:pt x="208" y="2206"/>
                    <a:pt x="260" y="2199"/>
                    <a:pt x="297" y="2214"/>
                  </a:cubicBezTo>
                  <a:cubicBezTo>
                    <a:pt x="312" y="2221"/>
                    <a:pt x="334" y="2221"/>
                    <a:pt x="341" y="2236"/>
                  </a:cubicBezTo>
                  <a:cubicBezTo>
                    <a:pt x="364" y="2258"/>
                    <a:pt x="312" y="2258"/>
                    <a:pt x="312" y="2266"/>
                  </a:cubicBezTo>
                  <a:cubicBezTo>
                    <a:pt x="304" y="2310"/>
                    <a:pt x="386" y="2266"/>
                    <a:pt x="364" y="2332"/>
                  </a:cubicBezTo>
                  <a:cubicBezTo>
                    <a:pt x="349" y="2340"/>
                    <a:pt x="341" y="2355"/>
                    <a:pt x="349" y="2377"/>
                  </a:cubicBezTo>
                  <a:cubicBezTo>
                    <a:pt x="297" y="2362"/>
                    <a:pt x="297" y="2399"/>
                    <a:pt x="297" y="2436"/>
                  </a:cubicBezTo>
                  <a:cubicBezTo>
                    <a:pt x="341" y="2444"/>
                    <a:pt x="415" y="2436"/>
                    <a:pt x="423" y="2488"/>
                  </a:cubicBezTo>
                  <a:cubicBezTo>
                    <a:pt x="393" y="2488"/>
                    <a:pt x="341" y="2481"/>
                    <a:pt x="341" y="2518"/>
                  </a:cubicBezTo>
                  <a:cubicBezTo>
                    <a:pt x="312" y="2525"/>
                    <a:pt x="282" y="2518"/>
                    <a:pt x="260" y="2518"/>
                  </a:cubicBezTo>
                  <a:cubicBezTo>
                    <a:pt x="252" y="2525"/>
                    <a:pt x="252" y="2525"/>
                    <a:pt x="252" y="2533"/>
                  </a:cubicBezTo>
                  <a:cubicBezTo>
                    <a:pt x="185" y="2533"/>
                    <a:pt x="156" y="2652"/>
                    <a:pt x="215" y="2652"/>
                  </a:cubicBezTo>
                  <a:cubicBezTo>
                    <a:pt x="208" y="2555"/>
                    <a:pt x="319" y="2592"/>
                    <a:pt x="386" y="2592"/>
                  </a:cubicBezTo>
                  <a:cubicBezTo>
                    <a:pt x="386" y="2570"/>
                    <a:pt x="393" y="2555"/>
                    <a:pt x="393" y="2540"/>
                  </a:cubicBezTo>
                  <a:cubicBezTo>
                    <a:pt x="430" y="2533"/>
                    <a:pt x="453" y="2533"/>
                    <a:pt x="482" y="2563"/>
                  </a:cubicBezTo>
                  <a:cubicBezTo>
                    <a:pt x="505" y="2592"/>
                    <a:pt x="549" y="2533"/>
                    <a:pt x="579" y="2540"/>
                  </a:cubicBezTo>
                  <a:cubicBezTo>
                    <a:pt x="586" y="2570"/>
                    <a:pt x="586" y="2600"/>
                    <a:pt x="623" y="2592"/>
                  </a:cubicBezTo>
                  <a:cubicBezTo>
                    <a:pt x="623" y="2577"/>
                    <a:pt x="631" y="2555"/>
                    <a:pt x="638" y="2540"/>
                  </a:cubicBezTo>
                  <a:cubicBezTo>
                    <a:pt x="646" y="2540"/>
                    <a:pt x="653" y="2533"/>
                    <a:pt x="661" y="2533"/>
                  </a:cubicBezTo>
                  <a:cubicBezTo>
                    <a:pt x="661" y="2518"/>
                    <a:pt x="668" y="2511"/>
                    <a:pt x="690" y="2503"/>
                  </a:cubicBezTo>
                  <a:cubicBezTo>
                    <a:pt x="698" y="2533"/>
                    <a:pt x="713" y="2563"/>
                    <a:pt x="742" y="2563"/>
                  </a:cubicBezTo>
                  <a:cubicBezTo>
                    <a:pt x="727" y="2570"/>
                    <a:pt x="720" y="2592"/>
                    <a:pt x="727" y="2607"/>
                  </a:cubicBezTo>
                  <a:cubicBezTo>
                    <a:pt x="750" y="2592"/>
                    <a:pt x="765" y="2577"/>
                    <a:pt x="780" y="2577"/>
                  </a:cubicBezTo>
                  <a:cubicBezTo>
                    <a:pt x="765" y="2577"/>
                    <a:pt x="750" y="2592"/>
                    <a:pt x="727" y="2607"/>
                  </a:cubicBezTo>
                  <a:cubicBezTo>
                    <a:pt x="735" y="2614"/>
                    <a:pt x="742" y="2614"/>
                    <a:pt x="750" y="2614"/>
                  </a:cubicBezTo>
                  <a:cubicBezTo>
                    <a:pt x="780" y="2622"/>
                    <a:pt x="809" y="2607"/>
                    <a:pt x="839" y="2614"/>
                  </a:cubicBezTo>
                  <a:cubicBezTo>
                    <a:pt x="876" y="2614"/>
                    <a:pt x="906" y="2637"/>
                    <a:pt x="935" y="2644"/>
                  </a:cubicBezTo>
                  <a:cubicBezTo>
                    <a:pt x="972" y="2644"/>
                    <a:pt x="1010" y="2644"/>
                    <a:pt x="1039" y="2644"/>
                  </a:cubicBezTo>
                  <a:cubicBezTo>
                    <a:pt x="1039" y="2637"/>
                    <a:pt x="1047" y="2629"/>
                    <a:pt x="1047" y="2622"/>
                  </a:cubicBezTo>
                  <a:cubicBezTo>
                    <a:pt x="1099" y="2622"/>
                    <a:pt x="1114" y="2644"/>
                    <a:pt x="1151" y="2674"/>
                  </a:cubicBezTo>
                  <a:cubicBezTo>
                    <a:pt x="1151" y="2704"/>
                    <a:pt x="1180" y="2711"/>
                    <a:pt x="1203" y="2711"/>
                  </a:cubicBezTo>
                  <a:cubicBezTo>
                    <a:pt x="1240" y="2726"/>
                    <a:pt x="1240" y="2741"/>
                    <a:pt x="1240" y="2778"/>
                  </a:cubicBezTo>
                  <a:cubicBezTo>
                    <a:pt x="1232" y="2822"/>
                    <a:pt x="1270" y="2845"/>
                    <a:pt x="1284" y="2889"/>
                  </a:cubicBezTo>
                  <a:cubicBezTo>
                    <a:pt x="1299" y="2934"/>
                    <a:pt x="1277" y="2986"/>
                    <a:pt x="1284" y="3030"/>
                  </a:cubicBezTo>
                  <a:cubicBezTo>
                    <a:pt x="1225" y="3030"/>
                    <a:pt x="1255" y="3082"/>
                    <a:pt x="1217" y="3090"/>
                  </a:cubicBezTo>
                  <a:cubicBezTo>
                    <a:pt x="1210" y="3105"/>
                    <a:pt x="1210" y="3134"/>
                    <a:pt x="1210" y="3149"/>
                  </a:cubicBezTo>
                  <a:cubicBezTo>
                    <a:pt x="1173" y="3171"/>
                    <a:pt x="1180" y="3238"/>
                    <a:pt x="1143" y="3261"/>
                  </a:cubicBezTo>
                  <a:cubicBezTo>
                    <a:pt x="1136" y="3290"/>
                    <a:pt x="1106" y="3320"/>
                    <a:pt x="1106" y="3357"/>
                  </a:cubicBezTo>
                  <a:cubicBezTo>
                    <a:pt x="1069" y="3320"/>
                    <a:pt x="1069" y="3379"/>
                    <a:pt x="1069" y="3402"/>
                  </a:cubicBezTo>
                  <a:lnTo>
                    <a:pt x="1062" y="3402"/>
                  </a:lnTo>
                  <a:cubicBezTo>
                    <a:pt x="1062" y="3431"/>
                    <a:pt x="1106" y="3454"/>
                    <a:pt x="1084" y="3483"/>
                  </a:cubicBezTo>
                  <a:cubicBezTo>
                    <a:pt x="1069" y="3498"/>
                    <a:pt x="1054" y="3498"/>
                    <a:pt x="1032" y="3498"/>
                  </a:cubicBezTo>
                  <a:cubicBezTo>
                    <a:pt x="1010" y="3491"/>
                    <a:pt x="1002" y="3513"/>
                    <a:pt x="980" y="3521"/>
                  </a:cubicBezTo>
                  <a:cubicBezTo>
                    <a:pt x="943" y="3543"/>
                    <a:pt x="891" y="3521"/>
                    <a:pt x="854" y="3528"/>
                  </a:cubicBezTo>
                  <a:cubicBezTo>
                    <a:pt x="802" y="3528"/>
                    <a:pt x="817" y="3580"/>
                    <a:pt x="817" y="3610"/>
                  </a:cubicBezTo>
                  <a:cubicBezTo>
                    <a:pt x="794" y="3617"/>
                    <a:pt x="765" y="3595"/>
                    <a:pt x="750" y="3624"/>
                  </a:cubicBezTo>
                  <a:cubicBezTo>
                    <a:pt x="742" y="3639"/>
                    <a:pt x="750" y="3662"/>
                    <a:pt x="750" y="3684"/>
                  </a:cubicBezTo>
                  <a:cubicBezTo>
                    <a:pt x="750" y="3713"/>
                    <a:pt x="742" y="3780"/>
                    <a:pt x="787" y="3780"/>
                  </a:cubicBezTo>
                  <a:cubicBezTo>
                    <a:pt x="794" y="3803"/>
                    <a:pt x="809" y="3818"/>
                    <a:pt x="809" y="3840"/>
                  </a:cubicBezTo>
                  <a:cubicBezTo>
                    <a:pt x="765" y="3832"/>
                    <a:pt x="780" y="3884"/>
                    <a:pt x="742" y="3877"/>
                  </a:cubicBezTo>
                  <a:cubicBezTo>
                    <a:pt x="735" y="3921"/>
                    <a:pt x="742" y="3959"/>
                    <a:pt x="705" y="3988"/>
                  </a:cubicBezTo>
                  <a:cubicBezTo>
                    <a:pt x="683" y="4003"/>
                    <a:pt x="653" y="4033"/>
                    <a:pt x="623" y="4025"/>
                  </a:cubicBezTo>
                  <a:cubicBezTo>
                    <a:pt x="623" y="4070"/>
                    <a:pt x="750" y="4256"/>
                    <a:pt x="661" y="4278"/>
                  </a:cubicBezTo>
                  <a:cubicBezTo>
                    <a:pt x="653" y="4323"/>
                    <a:pt x="675" y="4323"/>
                    <a:pt x="713" y="4330"/>
                  </a:cubicBezTo>
                  <a:cubicBezTo>
                    <a:pt x="772" y="4345"/>
                    <a:pt x="735" y="4426"/>
                    <a:pt x="735" y="4471"/>
                  </a:cubicBezTo>
                  <a:cubicBezTo>
                    <a:pt x="757" y="4471"/>
                    <a:pt x="772" y="4478"/>
                    <a:pt x="787" y="4478"/>
                  </a:cubicBezTo>
                  <a:cubicBezTo>
                    <a:pt x="794" y="4441"/>
                    <a:pt x="802" y="4412"/>
                    <a:pt x="831" y="4389"/>
                  </a:cubicBezTo>
                  <a:cubicBezTo>
                    <a:pt x="839" y="4434"/>
                    <a:pt x="883" y="4412"/>
                    <a:pt x="906" y="4434"/>
                  </a:cubicBezTo>
                  <a:cubicBezTo>
                    <a:pt x="943" y="4456"/>
                    <a:pt x="920" y="4530"/>
                    <a:pt x="972" y="4538"/>
                  </a:cubicBezTo>
                  <a:cubicBezTo>
                    <a:pt x="972" y="4530"/>
                    <a:pt x="980" y="4515"/>
                    <a:pt x="980" y="4508"/>
                  </a:cubicBezTo>
                  <a:cubicBezTo>
                    <a:pt x="1002" y="4501"/>
                    <a:pt x="1047" y="4508"/>
                    <a:pt x="1047" y="4545"/>
                  </a:cubicBezTo>
                  <a:cubicBezTo>
                    <a:pt x="1084" y="4530"/>
                    <a:pt x="1106" y="4493"/>
                    <a:pt x="1151" y="4486"/>
                  </a:cubicBezTo>
                  <a:cubicBezTo>
                    <a:pt x="1151" y="4456"/>
                    <a:pt x="1158" y="4419"/>
                    <a:pt x="1180" y="4412"/>
                  </a:cubicBezTo>
                  <a:cubicBezTo>
                    <a:pt x="1166" y="4382"/>
                    <a:pt x="1151" y="4360"/>
                    <a:pt x="1121" y="4352"/>
                  </a:cubicBezTo>
                  <a:cubicBezTo>
                    <a:pt x="1114" y="4330"/>
                    <a:pt x="1128" y="4323"/>
                    <a:pt x="1143" y="4323"/>
                  </a:cubicBezTo>
                  <a:cubicBezTo>
                    <a:pt x="1151" y="4308"/>
                    <a:pt x="1151" y="4285"/>
                    <a:pt x="1151" y="4270"/>
                  </a:cubicBezTo>
                  <a:cubicBezTo>
                    <a:pt x="1143" y="4256"/>
                    <a:pt x="1121" y="4248"/>
                    <a:pt x="1121" y="4226"/>
                  </a:cubicBezTo>
                  <a:cubicBezTo>
                    <a:pt x="1091" y="4218"/>
                    <a:pt x="1054" y="4248"/>
                    <a:pt x="1017" y="4241"/>
                  </a:cubicBezTo>
                  <a:cubicBezTo>
                    <a:pt x="1017" y="4189"/>
                    <a:pt x="1054" y="4122"/>
                    <a:pt x="1039" y="4070"/>
                  </a:cubicBezTo>
                  <a:cubicBezTo>
                    <a:pt x="1025" y="4025"/>
                    <a:pt x="987" y="4055"/>
                    <a:pt x="972" y="4018"/>
                  </a:cubicBezTo>
                  <a:cubicBezTo>
                    <a:pt x="958" y="3988"/>
                    <a:pt x="995" y="3855"/>
                    <a:pt x="935" y="3862"/>
                  </a:cubicBezTo>
                  <a:cubicBezTo>
                    <a:pt x="913" y="3825"/>
                    <a:pt x="943" y="3766"/>
                    <a:pt x="898" y="3743"/>
                  </a:cubicBezTo>
                  <a:cubicBezTo>
                    <a:pt x="883" y="3728"/>
                    <a:pt x="824" y="3743"/>
                    <a:pt x="831" y="3713"/>
                  </a:cubicBezTo>
                  <a:cubicBezTo>
                    <a:pt x="876" y="3713"/>
                    <a:pt x="891" y="3676"/>
                    <a:pt x="906" y="3647"/>
                  </a:cubicBezTo>
                  <a:cubicBezTo>
                    <a:pt x="958" y="3624"/>
                    <a:pt x="980" y="3632"/>
                    <a:pt x="980" y="3691"/>
                  </a:cubicBezTo>
                  <a:cubicBezTo>
                    <a:pt x="1032" y="3691"/>
                    <a:pt x="1039" y="3691"/>
                    <a:pt x="1047" y="3639"/>
                  </a:cubicBezTo>
                  <a:cubicBezTo>
                    <a:pt x="1054" y="3647"/>
                    <a:pt x="1069" y="3639"/>
                    <a:pt x="1077" y="3639"/>
                  </a:cubicBezTo>
                  <a:cubicBezTo>
                    <a:pt x="1084" y="3624"/>
                    <a:pt x="1077" y="3610"/>
                    <a:pt x="1084" y="3595"/>
                  </a:cubicBezTo>
                  <a:cubicBezTo>
                    <a:pt x="1114" y="3595"/>
                    <a:pt x="1128" y="3558"/>
                    <a:pt x="1166" y="3550"/>
                  </a:cubicBezTo>
                  <a:cubicBezTo>
                    <a:pt x="1180" y="3573"/>
                    <a:pt x="1158" y="3580"/>
                    <a:pt x="1151" y="3602"/>
                  </a:cubicBezTo>
                  <a:cubicBezTo>
                    <a:pt x="1136" y="3632"/>
                    <a:pt x="1173" y="3662"/>
                    <a:pt x="1173" y="3691"/>
                  </a:cubicBezTo>
                  <a:cubicBezTo>
                    <a:pt x="1128" y="3691"/>
                    <a:pt x="1084" y="3691"/>
                    <a:pt x="1091" y="3751"/>
                  </a:cubicBezTo>
                  <a:cubicBezTo>
                    <a:pt x="1099" y="3758"/>
                    <a:pt x="1114" y="3766"/>
                    <a:pt x="1121" y="3773"/>
                  </a:cubicBezTo>
                  <a:cubicBezTo>
                    <a:pt x="1121" y="3758"/>
                    <a:pt x="1128" y="3743"/>
                    <a:pt x="1128" y="3728"/>
                  </a:cubicBezTo>
                  <a:cubicBezTo>
                    <a:pt x="1136" y="3721"/>
                    <a:pt x="1151" y="3721"/>
                    <a:pt x="1166" y="3728"/>
                  </a:cubicBezTo>
                  <a:cubicBezTo>
                    <a:pt x="1166" y="3758"/>
                    <a:pt x="1166" y="3780"/>
                    <a:pt x="1136" y="3795"/>
                  </a:cubicBezTo>
                  <a:cubicBezTo>
                    <a:pt x="1128" y="3803"/>
                    <a:pt x="1128" y="3818"/>
                    <a:pt x="1136" y="3825"/>
                  </a:cubicBezTo>
                  <a:cubicBezTo>
                    <a:pt x="1151" y="3825"/>
                    <a:pt x="1166" y="3818"/>
                    <a:pt x="1166" y="3803"/>
                  </a:cubicBezTo>
                  <a:cubicBezTo>
                    <a:pt x="1180" y="3795"/>
                    <a:pt x="1210" y="3780"/>
                    <a:pt x="1225" y="3788"/>
                  </a:cubicBezTo>
                  <a:cubicBezTo>
                    <a:pt x="1240" y="3803"/>
                    <a:pt x="1210" y="3832"/>
                    <a:pt x="1240" y="3840"/>
                  </a:cubicBezTo>
                  <a:cubicBezTo>
                    <a:pt x="1240" y="3847"/>
                    <a:pt x="1247" y="3855"/>
                    <a:pt x="1247" y="3862"/>
                  </a:cubicBezTo>
                  <a:cubicBezTo>
                    <a:pt x="1270" y="3862"/>
                    <a:pt x="1284" y="3847"/>
                    <a:pt x="1314" y="3855"/>
                  </a:cubicBezTo>
                  <a:cubicBezTo>
                    <a:pt x="1344" y="3862"/>
                    <a:pt x="1359" y="3870"/>
                    <a:pt x="1396" y="3862"/>
                  </a:cubicBezTo>
                  <a:cubicBezTo>
                    <a:pt x="1396" y="3855"/>
                    <a:pt x="1396" y="3840"/>
                    <a:pt x="1396" y="3832"/>
                  </a:cubicBezTo>
                  <a:cubicBezTo>
                    <a:pt x="1433" y="3825"/>
                    <a:pt x="1388" y="3736"/>
                    <a:pt x="1381" y="3713"/>
                  </a:cubicBezTo>
                  <a:cubicBezTo>
                    <a:pt x="1411" y="3721"/>
                    <a:pt x="1418" y="3743"/>
                    <a:pt x="1448" y="3743"/>
                  </a:cubicBezTo>
                  <a:cubicBezTo>
                    <a:pt x="1448" y="3795"/>
                    <a:pt x="1477" y="3780"/>
                    <a:pt x="1522" y="3780"/>
                  </a:cubicBezTo>
                  <a:cubicBezTo>
                    <a:pt x="1529" y="3810"/>
                    <a:pt x="1374" y="3929"/>
                    <a:pt x="1477" y="3944"/>
                  </a:cubicBezTo>
                  <a:cubicBezTo>
                    <a:pt x="1477" y="3921"/>
                    <a:pt x="1455" y="3899"/>
                    <a:pt x="1485" y="3884"/>
                  </a:cubicBezTo>
                  <a:cubicBezTo>
                    <a:pt x="1507" y="3877"/>
                    <a:pt x="1537" y="3892"/>
                    <a:pt x="1559" y="3892"/>
                  </a:cubicBezTo>
                  <a:cubicBezTo>
                    <a:pt x="1552" y="3832"/>
                    <a:pt x="1596" y="3847"/>
                    <a:pt x="1611" y="3892"/>
                  </a:cubicBezTo>
                  <a:cubicBezTo>
                    <a:pt x="1656" y="3899"/>
                    <a:pt x="1722" y="3892"/>
                    <a:pt x="1774" y="3892"/>
                  </a:cubicBezTo>
                  <a:cubicBezTo>
                    <a:pt x="1774" y="3877"/>
                    <a:pt x="1767" y="3766"/>
                    <a:pt x="1812" y="3795"/>
                  </a:cubicBezTo>
                  <a:cubicBezTo>
                    <a:pt x="1841" y="3818"/>
                    <a:pt x="1923" y="3766"/>
                    <a:pt x="1901" y="3728"/>
                  </a:cubicBezTo>
                  <a:cubicBezTo>
                    <a:pt x="1923" y="3721"/>
                    <a:pt x="1953" y="3728"/>
                    <a:pt x="1975" y="3736"/>
                  </a:cubicBezTo>
                  <a:cubicBezTo>
                    <a:pt x="1975" y="3713"/>
                    <a:pt x="2042" y="3691"/>
                    <a:pt x="2064" y="3699"/>
                  </a:cubicBezTo>
                  <a:cubicBezTo>
                    <a:pt x="2064" y="3721"/>
                    <a:pt x="2064" y="3751"/>
                    <a:pt x="2086" y="3766"/>
                  </a:cubicBezTo>
                  <a:cubicBezTo>
                    <a:pt x="2109" y="3780"/>
                    <a:pt x="2131" y="3818"/>
                    <a:pt x="2153" y="3825"/>
                  </a:cubicBezTo>
                  <a:cubicBezTo>
                    <a:pt x="2168" y="3884"/>
                    <a:pt x="2086" y="3877"/>
                    <a:pt x="2094" y="3929"/>
                  </a:cubicBezTo>
                  <a:cubicBezTo>
                    <a:pt x="2101" y="3929"/>
                    <a:pt x="2109" y="3929"/>
                    <a:pt x="2109" y="3929"/>
                  </a:cubicBezTo>
                  <a:cubicBezTo>
                    <a:pt x="2109" y="3936"/>
                    <a:pt x="2101" y="3951"/>
                    <a:pt x="2101" y="3951"/>
                  </a:cubicBezTo>
                  <a:cubicBezTo>
                    <a:pt x="2086" y="3959"/>
                    <a:pt x="2094" y="3959"/>
                    <a:pt x="2079" y="3966"/>
                  </a:cubicBezTo>
                  <a:cubicBezTo>
                    <a:pt x="2064" y="3966"/>
                    <a:pt x="2057" y="3973"/>
                    <a:pt x="2049" y="3988"/>
                  </a:cubicBezTo>
                  <a:cubicBezTo>
                    <a:pt x="2072" y="3996"/>
                    <a:pt x="2086" y="3996"/>
                    <a:pt x="2109" y="3988"/>
                  </a:cubicBezTo>
                  <a:cubicBezTo>
                    <a:pt x="2101" y="3959"/>
                    <a:pt x="2131" y="3944"/>
                    <a:pt x="2153" y="3951"/>
                  </a:cubicBezTo>
                  <a:cubicBezTo>
                    <a:pt x="2183" y="3959"/>
                    <a:pt x="2168" y="3996"/>
                    <a:pt x="2168" y="4018"/>
                  </a:cubicBezTo>
                  <a:cubicBezTo>
                    <a:pt x="2220" y="4033"/>
                    <a:pt x="2213" y="3959"/>
                    <a:pt x="2198" y="3929"/>
                  </a:cubicBezTo>
                  <a:cubicBezTo>
                    <a:pt x="2213" y="3921"/>
                    <a:pt x="2242" y="3914"/>
                    <a:pt x="2250" y="3936"/>
                  </a:cubicBezTo>
                  <a:cubicBezTo>
                    <a:pt x="2250" y="3929"/>
                    <a:pt x="2257" y="3921"/>
                    <a:pt x="2257" y="3907"/>
                  </a:cubicBezTo>
                  <a:cubicBezTo>
                    <a:pt x="2287" y="3899"/>
                    <a:pt x="2287" y="3921"/>
                    <a:pt x="2294" y="3936"/>
                  </a:cubicBezTo>
                  <a:cubicBezTo>
                    <a:pt x="2309" y="3959"/>
                    <a:pt x="2346" y="3951"/>
                    <a:pt x="2369" y="3951"/>
                  </a:cubicBezTo>
                  <a:cubicBezTo>
                    <a:pt x="2369" y="3951"/>
                    <a:pt x="2369" y="3944"/>
                    <a:pt x="2369" y="3936"/>
                  </a:cubicBezTo>
                  <a:cubicBezTo>
                    <a:pt x="2354" y="3936"/>
                    <a:pt x="2346" y="3921"/>
                    <a:pt x="2346" y="3914"/>
                  </a:cubicBezTo>
                  <a:cubicBezTo>
                    <a:pt x="2369" y="3907"/>
                    <a:pt x="2391" y="3907"/>
                    <a:pt x="2413" y="3907"/>
                  </a:cubicBezTo>
                  <a:cubicBezTo>
                    <a:pt x="2413" y="3914"/>
                    <a:pt x="2413" y="3929"/>
                    <a:pt x="2421" y="3936"/>
                  </a:cubicBezTo>
                  <a:cubicBezTo>
                    <a:pt x="2421" y="3929"/>
                    <a:pt x="2421" y="3914"/>
                    <a:pt x="2421" y="3899"/>
                  </a:cubicBezTo>
                  <a:cubicBezTo>
                    <a:pt x="2435" y="3899"/>
                    <a:pt x="2458" y="3899"/>
                    <a:pt x="2473" y="3899"/>
                  </a:cubicBezTo>
                  <a:cubicBezTo>
                    <a:pt x="2465" y="3914"/>
                    <a:pt x="2465" y="3914"/>
                    <a:pt x="2450" y="3921"/>
                  </a:cubicBezTo>
                  <a:cubicBezTo>
                    <a:pt x="2435" y="3936"/>
                    <a:pt x="2443" y="3959"/>
                    <a:pt x="2435" y="3973"/>
                  </a:cubicBezTo>
                  <a:cubicBezTo>
                    <a:pt x="2435" y="4011"/>
                    <a:pt x="2428" y="4040"/>
                    <a:pt x="2413" y="4070"/>
                  </a:cubicBezTo>
                  <a:cubicBezTo>
                    <a:pt x="2450" y="4085"/>
                    <a:pt x="2465" y="4033"/>
                    <a:pt x="2502" y="4040"/>
                  </a:cubicBezTo>
                  <a:cubicBezTo>
                    <a:pt x="2502" y="4070"/>
                    <a:pt x="2643" y="4055"/>
                    <a:pt x="2673" y="4055"/>
                  </a:cubicBezTo>
                  <a:cubicBezTo>
                    <a:pt x="2651" y="3996"/>
                    <a:pt x="2740" y="3973"/>
                    <a:pt x="2695" y="3914"/>
                  </a:cubicBezTo>
                  <a:cubicBezTo>
                    <a:pt x="2710" y="3907"/>
                    <a:pt x="2725" y="3907"/>
                    <a:pt x="2740" y="3907"/>
                  </a:cubicBezTo>
                  <a:cubicBezTo>
                    <a:pt x="2732" y="3921"/>
                    <a:pt x="2740" y="3929"/>
                    <a:pt x="2740" y="3936"/>
                  </a:cubicBezTo>
                  <a:cubicBezTo>
                    <a:pt x="2755" y="3921"/>
                    <a:pt x="2770" y="3892"/>
                    <a:pt x="2807" y="3899"/>
                  </a:cubicBezTo>
                  <a:cubicBezTo>
                    <a:pt x="2807" y="3907"/>
                    <a:pt x="2814" y="3914"/>
                    <a:pt x="2807" y="3929"/>
                  </a:cubicBezTo>
                  <a:cubicBezTo>
                    <a:pt x="2821" y="3944"/>
                    <a:pt x="2836" y="3959"/>
                    <a:pt x="2859" y="3951"/>
                  </a:cubicBezTo>
                  <a:cubicBezTo>
                    <a:pt x="2859" y="3921"/>
                    <a:pt x="2881" y="3907"/>
                    <a:pt x="2874" y="3877"/>
                  </a:cubicBezTo>
                  <a:cubicBezTo>
                    <a:pt x="2896" y="3877"/>
                    <a:pt x="2933" y="3870"/>
                    <a:pt x="2948" y="3884"/>
                  </a:cubicBezTo>
                  <a:cubicBezTo>
                    <a:pt x="2978" y="3907"/>
                    <a:pt x="2940" y="3951"/>
                    <a:pt x="2948" y="3981"/>
                  </a:cubicBezTo>
                  <a:cubicBezTo>
                    <a:pt x="2978" y="3988"/>
                    <a:pt x="3022" y="3966"/>
                    <a:pt x="3029" y="4003"/>
                  </a:cubicBezTo>
                  <a:cubicBezTo>
                    <a:pt x="3044" y="4055"/>
                    <a:pt x="3119" y="4033"/>
                    <a:pt x="3156" y="4040"/>
                  </a:cubicBezTo>
                  <a:cubicBezTo>
                    <a:pt x="3156" y="4070"/>
                    <a:pt x="3141" y="4115"/>
                    <a:pt x="3156" y="4144"/>
                  </a:cubicBezTo>
                  <a:cubicBezTo>
                    <a:pt x="3186" y="4174"/>
                    <a:pt x="3252" y="4152"/>
                    <a:pt x="3282" y="4159"/>
                  </a:cubicBezTo>
                  <a:cubicBezTo>
                    <a:pt x="3282" y="4167"/>
                    <a:pt x="3282" y="4181"/>
                    <a:pt x="3282" y="4196"/>
                  </a:cubicBezTo>
                  <a:cubicBezTo>
                    <a:pt x="3312" y="4196"/>
                    <a:pt x="3334" y="4196"/>
                    <a:pt x="3364" y="4196"/>
                  </a:cubicBezTo>
                  <a:cubicBezTo>
                    <a:pt x="3364" y="4226"/>
                    <a:pt x="3364" y="4248"/>
                    <a:pt x="3364" y="4270"/>
                  </a:cubicBezTo>
                  <a:cubicBezTo>
                    <a:pt x="3379" y="4278"/>
                    <a:pt x="3393" y="4278"/>
                    <a:pt x="3408" y="4278"/>
                  </a:cubicBezTo>
                  <a:cubicBezTo>
                    <a:pt x="3408" y="4293"/>
                    <a:pt x="3408" y="4308"/>
                    <a:pt x="3408" y="4323"/>
                  </a:cubicBezTo>
                  <a:cubicBezTo>
                    <a:pt x="3438" y="4315"/>
                    <a:pt x="3431" y="4352"/>
                    <a:pt x="3460" y="4345"/>
                  </a:cubicBezTo>
                  <a:cubicBezTo>
                    <a:pt x="3468" y="4323"/>
                    <a:pt x="3453" y="4300"/>
                    <a:pt x="3460" y="4285"/>
                  </a:cubicBezTo>
                  <a:cubicBezTo>
                    <a:pt x="3505" y="4278"/>
                    <a:pt x="3608" y="4300"/>
                    <a:pt x="3637" y="4263"/>
                  </a:cubicBezTo>
                  <a:cubicBezTo>
                    <a:pt x="3660" y="4263"/>
                    <a:pt x="3682" y="4263"/>
                    <a:pt x="3697" y="4285"/>
                  </a:cubicBezTo>
                  <a:cubicBezTo>
                    <a:pt x="3704" y="4293"/>
                    <a:pt x="3704" y="4300"/>
                    <a:pt x="3704" y="4315"/>
                  </a:cubicBezTo>
                  <a:cubicBezTo>
                    <a:pt x="3712" y="4323"/>
                    <a:pt x="3727" y="4315"/>
                    <a:pt x="3741" y="4323"/>
                  </a:cubicBezTo>
                  <a:cubicBezTo>
                    <a:pt x="3779" y="4374"/>
                    <a:pt x="3719" y="4404"/>
                    <a:pt x="3682" y="4382"/>
                  </a:cubicBezTo>
                  <a:cubicBezTo>
                    <a:pt x="3675" y="4404"/>
                    <a:pt x="3675" y="4419"/>
                    <a:pt x="3675" y="4441"/>
                  </a:cubicBezTo>
                  <a:cubicBezTo>
                    <a:pt x="3682" y="4441"/>
                    <a:pt x="3690" y="4441"/>
                    <a:pt x="3697" y="4441"/>
                  </a:cubicBezTo>
                  <a:cubicBezTo>
                    <a:pt x="3697" y="4464"/>
                    <a:pt x="3697" y="4486"/>
                    <a:pt x="3697" y="4501"/>
                  </a:cubicBezTo>
                  <a:cubicBezTo>
                    <a:pt x="3741" y="4501"/>
                    <a:pt x="3741" y="4538"/>
                    <a:pt x="3727" y="4568"/>
                  </a:cubicBezTo>
                  <a:cubicBezTo>
                    <a:pt x="3712" y="4612"/>
                    <a:pt x="3690" y="4634"/>
                    <a:pt x="3690" y="4679"/>
                  </a:cubicBezTo>
                  <a:cubicBezTo>
                    <a:pt x="3682" y="4679"/>
                    <a:pt x="3667" y="4686"/>
                    <a:pt x="3660" y="4679"/>
                  </a:cubicBezTo>
                  <a:cubicBezTo>
                    <a:pt x="3652" y="4686"/>
                    <a:pt x="3652" y="4701"/>
                    <a:pt x="3660" y="4709"/>
                  </a:cubicBezTo>
                  <a:cubicBezTo>
                    <a:pt x="3682" y="4716"/>
                    <a:pt x="3697" y="4731"/>
                    <a:pt x="3704" y="4746"/>
                  </a:cubicBezTo>
                  <a:cubicBezTo>
                    <a:pt x="3712" y="4768"/>
                    <a:pt x="3697" y="4798"/>
                    <a:pt x="3727" y="4798"/>
                  </a:cubicBezTo>
                  <a:cubicBezTo>
                    <a:pt x="3727" y="4805"/>
                    <a:pt x="3727" y="4813"/>
                    <a:pt x="3734" y="4813"/>
                  </a:cubicBezTo>
                  <a:cubicBezTo>
                    <a:pt x="3741" y="4805"/>
                    <a:pt x="3749" y="4790"/>
                    <a:pt x="3756" y="4783"/>
                  </a:cubicBezTo>
                  <a:cubicBezTo>
                    <a:pt x="3749" y="4790"/>
                    <a:pt x="3741" y="4805"/>
                    <a:pt x="3734" y="4813"/>
                  </a:cubicBezTo>
                  <a:cubicBezTo>
                    <a:pt x="3749" y="4835"/>
                    <a:pt x="3786" y="4835"/>
                    <a:pt x="3816" y="4842"/>
                  </a:cubicBezTo>
                  <a:cubicBezTo>
                    <a:pt x="3816" y="4902"/>
                    <a:pt x="3957" y="4902"/>
                    <a:pt x="4001" y="4887"/>
                  </a:cubicBezTo>
                  <a:cubicBezTo>
                    <a:pt x="4046" y="4857"/>
                    <a:pt x="4009" y="4798"/>
                    <a:pt x="4038" y="4768"/>
                  </a:cubicBezTo>
                  <a:cubicBezTo>
                    <a:pt x="4053" y="4753"/>
                    <a:pt x="4068" y="4775"/>
                    <a:pt x="4068" y="4746"/>
                  </a:cubicBezTo>
                  <a:cubicBezTo>
                    <a:pt x="4068" y="4723"/>
                    <a:pt x="4098" y="4731"/>
                    <a:pt x="4120" y="4731"/>
                  </a:cubicBezTo>
                  <a:cubicBezTo>
                    <a:pt x="4120" y="4716"/>
                    <a:pt x="4113" y="4709"/>
                    <a:pt x="4113" y="4701"/>
                  </a:cubicBezTo>
                  <a:lnTo>
                    <a:pt x="4105" y="4701"/>
                  </a:lnTo>
                  <a:lnTo>
                    <a:pt x="4113" y="4701"/>
                  </a:lnTo>
                  <a:cubicBezTo>
                    <a:pt x="4098" y="4686"/>
                    <a:pt x="4083" y="4672"/>
                    <a:pt x="4105" y="4649"/>
                  </a:cubicBezTo>
                  <a:cubicBezTo>
                    <a:pt x="4127" y="4627"/>
                    <a:pt x="4165" y="4627"/>
                    <a:pt x="4142" y="4590"/>
                  </a:cubicBezTo>
                  <a:cubicBezTo>
                    <a:pt x="4120" y="4560"/>
                    <a:pt x="4135" y="4538"/>
                    <a:pt x="4157" y="4508"/>
                  </a:cubicBezTo>
                  <a:cubicBezTo>
                    <a:pt x="4172" y="4486"/>
                    <a:pt x="4150" y="4478"/>
                    <a:pt x="4142" y="4464"/>
                  </a:cubicBezTo>
                  <a:cubicBezTo>
                    <a:pt x="4142" y="4449"/>
                    <a:pt x="4142" y="4434"/>
                    <a:pt x="4142" y="4419"/>
                  </a:cubicBezTo>
                  <a:cubicBezTo>
                    <a:pt x="4127" y="4412"/>
                    <a:pt x="4120" y="4412"/>
                    <a:pt x="4105" y="4412"/>
                  </a:cubicBezTo>
                  <a:cubicBezTo>
                    <a:pt x="4120" y="4412"/>
                    <a:pt x="4127" y="4412"/>
                    <a:pt x="4142" y="4419"/>
                  </a:cubicBezTo>
                  <a:lnTo>
                    <a:pt x="4142" y="4412"/>
                  </a:lnTo>
                  <a:cubicBezTo>
                    <a:pt x="4187" y="4404"/>
                    <a:pt x="4224" y="4389"/>
                    <a:pt x="4232" y="4337"/>
                  </a:cubicBezTo>
                  <a:cubicBezTo>
                    <a:pt x="4232" y="4278"/>
                    <a:pt x="4202" y="4256"/>
                    <a:pt x="4165" y="4226"/>
                  </a:cubicBezTo>
                  <a:cubicBezTo>
                    <a:pt x="4113" y="4189"/>
                    <a:pt x="4127" y="4137"/>
                    <a:pt x="4113" y="4092"/>
                  </a:cubicBezTo>
                  <a:cubicBezTo>
                    <a:pt x="4090" y="4040"/>
                    <a:pt x="4090" y="3996"/>
                    <a:pt x="4105" y="3936"/>
                  </a:cubicBezTo>
                  <a:cubicBezTo>
                    <a:pt x="4120" y="3899"/>
                    <a:pt x="4142" y="3862"/>
                    <a:pt x="4187" y="3855"/>
                  </a:cubicBezTo>
                  <a:cubicBezTo>
                    <a:pt x="4239" y="3840"/>
                    <a:pt x="4269" y="3810"/>
                    <a:pt x="4313" y="3780"/>
                  </a:cubicBezTo>
                  <a:cubicBezTo>
                    <a:pt x="4350" y="3766"/>
                    <a:pt x="4402" y="3766"/>
                    <a:pt x="4425" y="3728"/>
                  </a:cubicBezTo>
                  <a:cubicBezTo>
                    <a:pt x="4447" y="3691"/>
                    <a:pt x="4462" y="3639"/>
                    <a:pt x="4514" y="3632"/>
                  </a:cubicBezTo>
                  <a:cubicBezTo>
                    <a:pt x="4521" y="3610"/>
                    <a:pt x="4551" y="3610"/>
                    <a:pt x="4573" y="3602"/>
                  </a:cubicBezTo>
                  <a:cubicBezTo>
                    <a:pt x="4595" y="3587"/>
                    <a:pt x="4595" y="3565"/>
                    <a:pt x="4595" y="3543"/>
                  </a:cubicBezTo>
                  <a:cubicBezTo>
                    <a:pt x="4610" y="3498"/>
                    <a:pt x="4692" y="3513"/>
                    <a:pt x="4684" y="3565"/>
                  </a:cubicBezTo>
                  <a:cubicBezTo>
                    <a:pt x="4722" y="3565"/>
                    <a:pt x="4722" y="3543"/>
                    <a:pt x="4751" y="3528"/>
                  </a:cubicBezTo>
                  <a:cubicBezTo>
                    <a:pt x="4789" y="3498"/>
                    <a:pt x="4840" y="3535"/>
                    <a:pt x="4878" y="3543"/>
                  </a:cubicBezTo>
                  <a:cubicBezTo>
                    <a:pt x="4967" y="3550"/>
                    <a:pt x="4967" y="3461"/>
                    <a:pt x="4892" y="3439"/>
                  </a:cubicBezTo>
                  <a:cubicBezTo>
                    <a:pt x="4818" y="3424"/>
                    <a:pt x="4774" y="3372"/>
                    <a:pt x="4707" y="3342"/>
                  </a:cubicBezTo>
                  <a:cubicBezTo>
                    <a:pt x="4692" y="3335"/>
                    <a:pt x="4677" y="3327"/>
                    <a:pt x="4662" y="3313"/>
                  </a:cubicBezTo>
                  <a:cubicBezTo>
                    <a:pt x="4640" y="3298"/>
                    <a:pt x="4647" y="3276"/>
                    <a:pt x="4632" y="3253"/>
                  </a:cubicBezTo>
                  <a:cubicBezTo>
                    <a:pt x="4610" y="3209"/>
                    <a:pt x="4566" y="3201"/>
                    <a:pt x="4543" y="3149"/>
                  </a:cubicBezTo>
                  <a:cubicBezTo>
                    <a:pt x="4581" y="3149"/>
                    <a:pt x="4625" y="3134"/>
                    <a:pt x="4655" y="3112"/>
                  </a:cubicBezTo>
                  <a:cubicBezTo>
                    <a:pt x="4677" y="3097"/>
                    <a:pt x="4655" y="3060"/>
                    <a:pt x="4655" y="3045"/>
                  </a:cubicBezTo>
                  <a:cubicBezTo>
                    <a:pt x="4647" y="3016"/>
                    <a:pt x="4625" y="3023"/>
                    <a:pt x="4603" y="3016"/>
                  </a:cubicBezTo>
                  <a:cubicBezTo>
                    <a:pt x="4566" y="3016"/>
                    <a:pt x="4536" y="2993"/>
                    <a:pt x="4506" y="2986"/>
                  </a:cubicBezTo>
                  <a:cubicBezTo>
                    <a:pt x="4484" y="2949"/>
                    <a:pt x="4492" y="2911"/>
                    <a:pt x="4543" y="2911"/>
                  </a:cubicBezTo>
                  <a:cubicBezTo>
                    <a:pt x="4588" y="2911"/>
                    <a:pt x="4566" y="2882"/>
                    <a:pt x="4610" y="2867"/>
                  </a:cubicBezTo>
                  <a:cubicBezTo>
                    <a:pt x="4662" y="2852"/>
                    <a:pt x="4722" y="2874"/>
                    <a:pt x="4781" y="2867"/>
                  </a:cubicBezTo>
                  <a:cubicBezTo>
                    <a:pt x="4803" y="2867"/>
                    <a:pt x="4826" y="2852"/>
                    <a:pt x="4803" y="2822"/>
                  </a:cubicBezTo>
                  <a:cubicBezTo>
                    <a:pt x="4789" y="2808"/>
                    <a:pt x="4759" y="2815"/>
                    <a:pt x="4737" y="2815"/>
                  </a:cubicBezTo>
                  <a:cubicBezTo>
                    <a:pt x="4737" y="2793"/>
                    <a:pt x="4729" y="2785"/>
                    <a:pt x="4714" y="2785"/>
                  </a:cubicBezTo>
                  <a:cubicBezTo>
                    <a:pt x="4707" y="2756"/>
                    <a:pt x="4707" y="2726"/>
                    <a:pt x="4707" y="2689"/>
                  </a:cubicBezTo>
                  <a:cubicBezTo>
                    <a:pt x="4670" y="2681"/>
                    <a:pt x="4618" y="2696"/>
                    <a:pt x="4588" y="2674"/>
                  </a:cubicBezTo>
                  <a:cubicBezTo>
                    <a:pt x="4551" y="2644"/>
                    <a:pt x="4573" y="2592"/>
                    <a:pt x="4566" y="2548"/>
                  </a:cubicBezTo>
                  <a:cubicBezTo>
                    <a:pt x="4558" y="2503"/>
                    <a:pt x="4499" y="2525"/>
                    <a:pt x="4506" y="2474"/>
                  </a:cubicBezTo>
                  <a:cubicBezTo>
                    <a:pt x="4521" y="2429"/>
                    <a:pt x="4469" y="2399"/>
                    <a:pt x="4477" y="2355"/>
                  </a:cubicBezTo>
                  <a:cubicBezTo>
                    <a:pt x="4439" y="2355"/>
                    <a:pt x="4425" y="2303"/>
                    <a:pt x="4417" y="2258"/>
                  </a:cubicBezTo>
                  <a:cubicBezTo>
                    <a:pt x="4395" y="2251"/>
                    <a:pt x="4373" y="2228"/>
                    <a:pt x="4343" y="2214"/>
                  </a:cubicBezTo>
                  <a:cubicBezTo>
                    <a:pt x="4298" y="2191"/>
                    <a:pt x="4239" y="2191"/>
                    <a:pt x="4180" y="2199"/>
                  </a:cubicBezTo>
                  <a:cubicBezTo>
                    <a:pt x="4172" y="2214"/>
                    <a:pt x="4165" y="2236"/>
                    <a:pt x="4150" y="2251"/>
                  </a:cubicBezTo>
                  <a:cubicBezTo>
                    <a:pt x="4135" y="2258"/>
                    <a:pt x="4105" y="2266"/>
                    <a:pt x="4098" y="2288"/>
                  </a:cubicBezTo>
                  <a:cubicBezTo>
                    <a:pt x="4061" y="2295"/>
                    <a:pt x="4053" y="2251"/>
                    <a:pt x="4046" y="2228"/>
                  </a:cubicBezTo>
                  <a:cubicBezTo>
                    <a:pt x="4031" y="2214"/>
                    <a:pt x="4024" y="2191"/>
                    <a:pt x="3994" y="2184"/>
                  </a:cubicBezTo>
                  <a:cubicBezTo>
                    <a:pt x="3957" y="2169"/>
                    <a:pt x="3905" y="2184"/>
                    <a:pt x="3860" y="2184"/>
                  </a:cubicBezTo>
                  <a:cubicBezTo>
                    <a:pt x="3853" y="2139"/>
                    <a:pt x="3756" y="2154"/>
                    <a:pt x="3727" y="2154"/>
                  </a:cubicBezTo>
                  <a:cubicBezTo>
                    <a:pt x="3727" y="2124"/>
                    <a:pt x="3727" y="2095"/>
                    <a:pt x="3727" y="2072"/>
                  </a:cubicBezTo>
                  <a:cubicBezTo>
                    <a:pt x="3727" y="2043"/>
                    <a:pt x="3704" y="2020"/>
                    <a:pt x="3697" y="1998"/>
                  </a:cubicBezTo>
                  <a:cubicBezTo>
                    <a:pt x="3645" y="1983"/>
                    <a:pt x="3585" y="2020"/>
                    <a:pt x="3534" y="2013"/>
                  </a:cubicBezTo>
                  <a:cubicBezTo>
                    <a:pt x="3497" y="2006"/>
                    <a:pt x="3497" y="1983"/>
                    <a:pt x="3475" y="1961"/>
                  </a:cubicBezTo>
                  <a:cubicBezTo>
                    <a:pt x="3453" y="1939"/>
                    <a:pt x="3438" y="1939"/>
                    <a:pt x="3408" y="1924"/>
                  </a:cubicBezTo>
                  <a:cubicBezTo>
                    <a:pt x="3371" y="1909"/>
                    <a:pt x="3326" y="1879"/>
                    <a:pt x="3282" y="1857"/>
                  </a:cubicBezTo>
                  <a:cubicBezTo>
                    <a:pt x="3252" y="1842"/>
                    <a:pt x="3245" y="1835"/>
                    <a:pt x="3215" y="1850"/>
                  </a:cubicBezTo>
                  <a:cubicBezTo>
                    <a:pt x="3200" y="1864"/>
                    <a:pt x="3186" y="1894"/>
                    <a:pt x="3163" y="1887"/>
                  </a:cubicBezTo>
                  <a:cubicBezTo>
                    <a:pt x="3148" y="1850"/>
                    <a:pt x="3104" y="1835"/>
                    <a:pt x="3074" y="1820"/>
                  </a:cubicBezTo>
                  <a:cubicBezTo>
                    <a:pt x="3044" y="1812"/>
                    <a:pt x="3022" y="1798"/>
                    <a:pt x="2985" y="1783"/>
                  </a:cubicBezTo>
                  <a:cubicBezTo>
                    <a:pt x="2992" y="1775"/>
                    <a:pt x="2985" y="1768"/>
                    <a:pt x="2985" y="1761"/>
                  </a:cubicBezTo>
                  <a:cubicBezTo>
                    <a:pt x="2955" y="1746"/>
                    <a:pt x="2926" y="1731"/>
                    <a:pt x="2896" y="1701"/>
                  </a:cubicBezTo>
                  <a:cubicBezTo>
                    <a:pt x="2859" y="1679"/>
                    <a:pt x="2844" y="1642"/>
                    <a:pt x="2807" y="1657"/>
                  </a:cubicBezTo>
                  <a:cubicBezTo>
                    <a:pt x="2807" y="1664"/>
                    <a:pt x="2807" y="1664"/>
                    <a:pt x="2799" y="1664"/>
                  </a:cubicBezTo>
                  <a:cubicBezTo>
                    <a:pt x="2770" y="1672"/>
                    <a:pt x="2784" y="1597"/>
                    <a:pt x="2777" y="1575"/>
                  </a:cubicBezTo>
                  <a:cubicBezTo>
                    <a:pt x="2770" y="1545"/>
                    <a:pt x="2747" y="1508"/>
                    <a:pt x="2718" y="1501"/>
                  </a:cubicBezTo>
                  <a:cubicBezTo>
                    <a:pt x="2695" y="1493"/>
                    <a:pt x="2688" y="1493"/>
                    <a:pt x="2666" y="1486"/>
                  </a:cubicBezTo>
                  <a:cubicBezTo>
                    <a:pt x="2651" y="1478"/>
                    <a:pt x="2636" y="1464"/>
                    <a:pt x="2621" y="1456"/>
                  </a:cubicBezTo>
                  <a:cubicBezTo>
                    <a:pt x="2606" y="1449"/>
                    <a:pt x="2584" y="1426"/>
                    <a:pt x="2569" y="1426"/>
                  </a:cubicBezTo>
                  <a:cubicBezTo>
                    <a:pt x="2554" y="1419"/>
                    <a:pt x="2532" y="1426"/>
                    <a:pt x="2517" y="1419"/>
                  </a:cubicBezTo>
                  <a:cubicBezTo>
                    <a:pt x="2517" y="1412"/>
                    <a:pt x="2517" y="1404"/>
                    <a:pt x="2517" y="1389"/>
                  </a:cubicBezTo>
                  <a:cubicBezTo>
                    <a:pt x="2450" y="1389"/>
                    <a:pt x="2413" y="1352"/>
                    <a:pt x="2369" y="1307"/>
                  </a:cubicBezTo>
                  <a:cubicBezTo>
                    <a:pt x="2346" y="1285"/>
                    <a:pt x="2339" y="1256"/>
                    <a:pt x="2309" y="1256"/>
                  </a:cubicBezTo>
                  <a:cubicBezTo>
                    <a:pt x="2265" y="1248"/>
                    <a:pt x="2272" y="1300"/>
                    <a:pt x="2272" y="1330"/>
                  </a:cubicBezTo>
                  <a:cubicBezTo>
                    <a:pt x="2242" y="1337"/>
                    <a:pt x="2235" y="1293"/>
                    <a:pt x="2213" y="1278"/>
                  </a:cubicBezTo>
                  <a:cubicBezTo>
                    <a:pt x="2183" y="1263"/>
                    <a:pt x="2161" y="1285"/>
                    <a:pt x="2131" y="1256"/>
                  </a:cubicBezTo>
                  <a:cubicBezTo>
                    <a:pt x="2124" y="1241"/>
                    <a:pt x="2116" y="1218"/>
                    <a:pt x="2109" y="1204"/>
                  </a:cubicBezTo>
                  <a:cubicBezTo>
                    <a:pt x="2109" y="1204"/>
                    <a:pt x="2101" y="1196"/>
                    <a:pt x="2094" y="1189"/>
                  </a:cubicBezTo>
                  <a:cubicBezTo>
                    <a:pt x="2079" y="1204"/>
                    <a:pt x="2064" y="1218"/>
                    <a:pt x="2072" y="1218"/>
                  </a:cubicBezTo>
                  <a:cubicBezTo>
                    <a:pt x="2064" y="1218"/>
                    <a:pt x="2079" y="1204"/>
                    <a:pt x="2094" y="1189"/>
                  </a:cubicBezTo>
                  <a:cubicBezTo>
                    <a:pt x="2086" y="1189"/>
                    <a:pt x="2086" y="1189"/>
                    <a:pt x="2086" y="1189"/>
                  </a:cubicBezTo>
                  <a:cubicBezTo>
                    <a:pt x="2049" y="1226"/>
                    <a:pt x="2012" y="1278"/>
                    <a:pt x="1997" y="1293"/>
                  </a:cubicBezTo>
                  <a:cubicBezTo>
                    <a:pt x="1982" y="1293"/>
                    <a:pt x="1960" y="1293"/>
                    <a:pt x="1945" y="1293"/>
                  </a:cubicBezTo>
                </a:path>
              </a:pathLst>
            </a:custGeom>
            <a:grpFill/>
            <a:ln w="6350" cap="flat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lIns="60927" tIns="30463" rIns="60927" bIns="30463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9" name="Freeform 11"/>
            <p:cNvSpPr>
              <a:spLocks noChangeArrowheads="1"/>
            </p:cNvSpPr>
            <p:nvPr/>
          </p:nvSpPr>
          <p:spPr bwMode="auto">
            <a:xfrm>
              <a:off x="9771497" y="10686945"/>
              <a:ext cx="754921" cy="1482166"/>
            </a:xfrm>
            <a:custGeom>
              <a:avLst/>
              <a:gdLst>
                <a:gd name="T0" fmla="*/ 1522 w 1746"/>
                <a:gd name="T1" fmla="*/ 3342 h 3432"/>
                <a:gd name="T2" fmla="*/ 1567 w 1746"/>
                <a:gd name="T3" fmla="*/ 3223 h 3432"/>
                <a:gd name="T4" fmla="*/ 1537 w 1746"/>
                <a:gd name="T5" fmla="*/ 2904 h 3432"/>
                <a:gd name="T6" fmla="*/ 1693 w 1746"/>
                <a:gd name="T7" fmla="*/ 2473 h 3432"/>
                <a:gd name="T8" fmla="*/ 1611 w 1746"/>
                <a:gd name="T9" fmla="*/ 2288 h 3432"/>
                <a:gd name="T10" fmla="*/ 1619 w 1746"/>
                <a:gd name="T11" fmla="*/ 1916 h 3432"/>
                <a:gd name="T12" fmla="*/ 1359 w 1746"/>
                <a:gd name="T13" fmla="*/ 1961 h 3432"/>
                <a:gd name="T14" fmla="*/ 1351 w 1746"/>
                <a:gd name="T15" fmla="*/ 1530 h 3432"/>
                <a:gd name="T16" fmla="*/ 1240 w 1746"/>
                <a:gd name="T17" fmla="*/ 1255 h 3432"/>
                <a:gd name="T18" fmla="*/ 1099 w 1746"/>
                <a:gd name="T19" fmla="*/ 1114 h 3432"/>
                <a:gd name="T20" fmla="*/ 928 w 1746"/>
                <a:gd name="T21" fmla="*/ 921 h 3432"/>
                <a:gd name="T22" fmla="*/ 1076 w 1746"/>
                <a:gd name="T23" fmla="*/ 840 h 3432"/>
                <a:gd name="T24" fmla="*/ 906 w 1746"/>
                <a:gd name="T25" fmla="*/ 728 h 3432"/>
                <a:gd name="T26" fmla="*/ 690 w 1746"/>
                <a:gd name="T27" fmla="*/ 654 h 3432"/>
                <a:gd name="T28" fmla="*/ 379 w 1746"/>
                <a:gd name="T29" fmla="*/ 372 h 3432"/>
                <a:gd name="T30" fmla="*/ 304 w 1746"/>
                <a:gd name="T31" fmla="*/ 223 h 3432"/>
                <a:gd name="T32" fmla="*/ 200 w 1746"/>
                <a:gd name="T33" fmla="*/ 156 h 3432"/>
                <a:gd name="T34" fmla="*/ 96 w 1746"/>
                <a:gd name="T35" fmla="*/ 82 h 3432"/>
                <a:gd name="T36" fmla="*/ 7 w 1746"/>
                <a:gd name="T37" fmla="*/ 8 h 3432"/>
                <a:gd name="T38" fmla="*/ 163 w 1746"/>
                <a:gd name="T39" fmla="*/ 461 h 3432"/>
                <a:gd name="T40" fmla="*/ 237 w 1746"/>
                <a:gd name="T41" fmla="*/ 528 h 3432"/>
                <a:gd name="T42" fmla="*/ 282 w 1746"/>
                <a:gd name="T43" fmla="*/ 631 h 3432"/>
                <a:gd name="T44" fmla="*/ 416 w 1746"/>
                <a:gd name="T45" fmla="*/ 758 h 3432"/>
                <a:gd name="T46" fmla="*/ 482 w 1746"/>
                <a:gd name="T47" fmla="*/ 884 h 3432"/>
                <a:gd name="T48" fmla="*/ 497 w 1746"/>
                <a:gd name="T49" fmla="*/ 973 h 3432"/>
                <a:gd name="T50" fmla="*/ 601 w 1746"/>
                <a:gd name="T51" fmla="*/ 1055 h 3432"/>
                <a:gd name="T52" fmla="*/ 594 w 1746"/>
                <a:gd name="T53" fmla="*/ 1166 h 3432"/>
                <a:gd name="T54" fmla="*/ 624 w 1746"/>
                <a:gd name="T55" fmla="*/ 1241 h 3432"/>
                <a:gd name="T56" fmla="*/ 661 w 1746"/>
                <a:gd name="T57" fmla="*/ 1441 h 3432"/>
                <a:gd name="T58" fmla="*/ 698 w 1746"/>
                <a:gd name="T59" fmla="*/ 1508 h 3432"/>
                <a:gd name="T60" fmla="*/ 713 w 1746"/>
                <a:gd name="T61" fmla="*/ 1523 h 3432"/>
                <a:gd name="T62" fmla="*/ 727 w 1746"/>
                <a:gd name="T63" fmla="*/ 1619 h 3432"/>
                <a:gd name="T64" fmla="*/ 809 w 1746"/>
                <a:gd name="T65" fmla="*/ 1723 h 3432"/>
                <a:gd name="T66" fmla="*/ 794 w 1746"/>
                <a:gd name="T67" fmla="*/ 1783 h 3432"/>
                <a:gd name="T68" fmla="*/ 824 w 1746"/>
                <a:gd name="T69" fmla="*/ 1872 h 3432"/>
                <a:gd name="T70" fmla="*/ 906 w 1746"/>
                <a:gd name="T71" fmla="*/ 1968 h 3432"/>
                <a:gd name="T72" fmla="*/ 846 w 1746"/>
                <a:gd name="T73" fmla="*/ 1983 h 3432"/>
                <a:gd name="T74" fmla="*/ 943 w 1746"/>
                <a:gd name="T75" fmla="*/ 2154 h 3432"/>
                <a:gd name="T76" fmla="*/ 987 w 1746"/>
                <a:gd name="T77" fmla="*/ 2421 h 3432"/>
                <a:gd name="T78" fmla="*/ 995 w 1746"/>
                <a:gd name="T79" fmla="*/ 2444 h 3432"/>
                <a:gd name="T80" fmla="*/ 935 w 1746"/>
                <a:gd name="T81" fmla="*/ 2288 h 3432"/>
                <a:gd name="T82" fmla="*/ 884 w 1746"/>
                <a:gd name="T83" fmla="*/ 2109 h 3432"/>
                <a:gd name="T84" fmla="*/ 921 w 1746"/>
                <a:gd name="T85" fmla="*/ 2451 h 3432"/>
                <a:gd name="T86" fmla="*/ 1010 w 1746"/>
                <a:gd name="T87" fmla="*/ 2741 h 3432"/>
                <a:gd name="T88" fmla="*/ 1032 w 1746"/>
                <a:gd name="T89" fmla="*/ 2748 h 3432"/>
                <a:gd name="T90" fmla="*/ 1032 w 1746"/>
                <a:gd name="T91" fmla="*/ 2741 h 3432"/>
                <a:gd name="T92" fmla="*/ 1039 w 1746"/>
                <a:gd name="T93" fmla="*/ 2837 h 3432"/>
                <a:gd name="T94" fmla="*/ 1143 w 1746"/>
                <a:gd name="T95" fmla="*/ 2882 h 3432"/>
                <a:gd name="T96" fmla="*/ 1114 w 1746"/>
                <a:gd name="T97" fmla="*/ 2963 h 3432"/>
                <a:gd name="T98" fmla="*/ 1218 w 1746"/>
                <a:gd name="T99" fmla="*/ 3112 h 3432"/>
                <a:gd name="T100" fmla="*/ 1470 w 1746"/>
                <a:gd name="T101" fmla="*/ 3409 h 3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746" h="3432">
                  <a:moveTo>
                    <a:pt x="1500" y="3424"/>
                  </a:moveTo>
                  <a:lnTo>
                    <a:pt x="1500" y="3424"/>
                  </a:lnTo>
                  <a:cubicBezTo>
                    <a:pt x="1507" y="3424"/>
                    <a:pt x="1515" y="3424"/>
                    <a:pt x="1515" y="3416"/>
                  </a:cubicBezTo>
                  <a:cubicBezTo>
                    <a:pt x="1522" y="3394"/>
                    <a:pt x="1522" y="3372"/>
                    <a:pt x="1522" y="3342"/>
                  </a:cubicBezTo>
                  <a:cubicBezTo>
                    <a:pt x="1529" y="3349"/>
                    <a:pt x="1529" y="3342"/>
                    <a:pt x="1537" y="3342"/>
                  </a:cubicBezTo>
                  <a:cubicBezTo>
                    <a:pt x="1537" y="3327"/>
                    <a:pt x="1537" y="3312"/>
                    <a:pt x="1537" y="3297"/>
                  </a:cubicBezTo>
                  <a:cubicBezTo>
                    <a:pt x="1604" y="3327"/>
                    <a:pt x="1589" y="3268"/>
                    <a:pt x="1574" y="3223"/>
                  </a:cubicBezTo>
                  <a:cubicBezTo>
                    <a:pt x="1574" y="3223"/>
                    <a:pt x="1574" y="3223"/>
                    <a:pt x="1567" y="3223"/>
                  </a:cubicBezTo>
                  <a:cubicBezTo>
                    <a:pt x="1567" y="3186"/>
                    <a:pt x="1529" y="3164"/>
                    <a:pt x="1537" y="3127"/>
                  </a:cubicBezTo>
                  <a:cubicBezTo>
                    <a:pt x="1537" y="3104"/>
                    <a:pt x="1567" y="3067"/>
                    <a:pt x="1596" y="3067"/>
                  </a:cubicBezTo>
                  <a:cubicBezTo>
                    <a:pt x="1604" y="3045"/>
                    <a:pt x="1604" y="3015"/>
                    <a:pt x="1596" y="2986"/>
                  </a:cubicBezTo>
                  <a:cubicBezTo>
                    <a:pt x="1574" y="2986"/>
                    <a:pt x="1544" y="2934"/>
                    <a:pt x="1537" y="2904"/>
                  </a:cubicBezTo>
                  <a:cubicBezTo>
                    <a:pt x="1529" y="2874"/>
                    <a:pt x="1574" y="2874"/>
                    <a:pt x="1589" y="2845"/>
                  </a:cubicBezTo>
                  <a:cubicBezTo>
                    <a:pt x="1611" y="2807"/>
                    <a:pt x="1604" y="2674"/>
                    <a:pt x="1663" y="2689"/>
                  </a:cubicBezTo>
                  <a:cubicBezTo>
                    <a:pt x="1663" y="2659"/>
                    <a:pt x="1678" y="2585"/>
                    <a:pt x="1700" y="2570"/>
                  </a:cubicBezTo>
                  <a:cubicBezTo>
                    <a:pt x="1745" y="2540"/>
                    <a:pt x="1686" y="2518"/>
                    <a:pt x="1693" y="2473"/>
                  </a:cubicBezTo>
                  <a:cubicBezTo>
                    <a:pt x="1663" y="2466"/>
                    <a:pt x="1656" y="2488"/>
                    <a:pt x="1641" y="2503"/>
                  </a:cubicBezTo>
                  <a:cubicBezTo>
                    <a:pt x="1604" y="2510"/>
                    <a:pt x="1589" y="2466"/>
                    <a:pt x="1552" y="2458"/>
                  </a:cubicBezTo>
                  <a:cubicBezTo>
                    <a:pt x="1596" y="2458"/>
                    <a:pt x="1559" y="2347"/>
                    <a:pt x="1611" y="2332"/>
                  </a:cubicBezTo>
                  <a:cubicBezTo>
                    <a:pt x="1611" y="2317"/>
                    <a:pt x="1611" y="2302"/>
                    <a:pt x="1611" y="2288"/>
                  </a:cubicBezTo>
                  <a:cubicBezTo>
                    <a:pt x="1604" y="2288"/>
                    <a:pt x="1604" y="2288"/>
                    <a:pt x="1604" y="2288"/>
                  </a:cubicBezTo>
                  <a:cubicBezTo>
                    <a:pt x="1589" y="2236"/>
                    <a:pt x="1715" y="2147"/>
                    <a:pt x="1604" y="2132"/>
                  </a:cubicBezTo>
                  <a:cubicBezTo>
                    <a:pt x="1611" y="2109"/>
                    <a:pt x="1596" y="2102"/>
                    <a:pt x="1596" y="2080"/>
                  </a:cubicBezTo>
                  <a:cubicBezTo>
                    <a:pt x="1663" y="2087"/>
                    <a:pt x="1656" y="1939"/>
                    <a:pt x="1619" y="1916"/>
                  </a:cubicBezTo>
                  <a:cubicBezTo>
                    <a:pt x="1589" y="1901"/>
                    <a:pt x="1537" y="1909"/>
                    <a:pt x="1515" y="1931"/>
                  </a:cubicBezTo>
                  <a:cubicBezTo>
                    <a:pt x="1492" y="1968"/>
                    <a:pt x="1440" y="1953"/>
                    <a:pt x="1440" y="2005"/>
                  </a:cubicBezTo>
                  <a:cubicBezTo>
                    <a:pt x="1433" y="2013"/>
                    <a:pt x="1426" y="2013"/>
                    <a:pt x="1418" y="2013"/>
                  </a:cubicBezTo>
                  <a:cubicBezTo>
                    <a:pt x="1418" y="1976"/>
                    <a:pt x="1381" y="1976"/>
                    <a:pt x="1359" y="1961"/>
                  </a:cubicBezTo>
                  <a:cubicBezTo>
                    <a:pt x="1336" y="1946"/>
                    <a:pt x="1336" y="1909"/>
                    <a:pt x="1329" y="1879"/>
                  </a:cubicBezTo>
                  <a:cubicBezTo>
                    <a:pt x="1321" y="1842"/>
                    <a:pt x="1329" y="1805"/>
                    <a:pt x="1336" y="1768"/>
                  </a:cubicBezTo>
                  <a:cubicBezTo>
                    <a:pt x="1344" y="1731"/>
                    <a:pt x="1336" y="1679"/>
                    <a:pt x="1366" y="1656"/>
                  </a:cubicBezTo>
                  <a:cubicBezTo>
                    <a:pt x="1374" y="1619"/>
                    <a:pt x="1381" y="1567"/>
                    <a:pt x="1351" y="1530"/>
                  </a:cubicBezTo>
                  <a:cubicBezTo>
                    <a:pt x="1336" y="1508"/>
                    <a:pt x="1247" y="1463"/>
                    <a:pt x="1225" y="1463"/>
                  </a:cubicBezTo>
                  <a:cubicBezTo>
                    <a:pt x="1232" y="1441"/>
                    <a:pt x="1218" y="1404"/>
                    <a:pt x="1232" y="1382"/>
                  </a:cubicBezTo>
                  <a:cubicBezTo>
                    <a:pt x="1247" y="1382"/>
                    <a:pt x="1255" y="1382"/>
                    <a:pt x="1270" y="1382"/>
                  </a:cubicBezTo>
                  <a:cubicBezTo>
                    <a:pt x="1270" y="1337"/>
                    <a:pt x="1284" y="1278"/>
                    <a:pt x="1240" y="1255"/>
                  </a:cubicBezTo>
                  <a:cubicBezTo>
                    <a:pt x="1188" y="1226"/>
                    <a:pt x="1114" y="1248"/>
                    <a:pt x="1054" y="1248"/>
                  </a:cubicBezTo>
                  <a:cubicBezTo>
                    <a:pt x="1062" y="1248"/>
                    <a:pt x="1062" y="1248"/>
                    <a:pt x="1069" y="1248"/>
                  </a:cubicBezTo>
                  <a:cubicBezTo>
                    <a:pt x="1069" y="1226"/>
                    <a:pt x="1121" y="1151"/>
                    <a:pt x="1143" y="1144"/>
                  </a:cubicBezTo>
                  <a:cubicBezTo>
                    <a:pt x="1143" y="1122"/>
                    <a:pt x="1114" y="1122"/>
                    <a:pt x="1099" y="1114"/>
                  </a:cubicBezTo>
                  <a:cubicBezTo>
                    <a:pt x="1076" y="1107"/>
                    <a:pt x="1076" y="1085"/>
                    <a:pt x="1054" y="1077"/>
                  </a:cubicBezTo>
                  <a:cubicBezTo>
                    <a:pt x="1039" y="1062"/>
                    <a:pt x="1017" y="1070"/>
                    <a:pt x="995" y="1055"/>
                  </a:cubicBezTo>
                  <a:cubicBezTo>
                    <a:pt x="973" y="1033"/>
                    <a:pt x="950" y="1040"/>
                    <a:pt x="921" y="1040"/>
                  </a:cubicBezTo>
                  <a:cubicBezTo>
                    <a:pt x="921" y="1003"/>
                    <a:pt x="921" y="958"/>
                    <a:pt x="928" y="921"/>
                  </a:cubicBezTo>
                  <a:cubicBezTo>
                    <a:pt x="958" y="929"/>
                    <a:pt x="973" y="958"/>
                    <a:pt x="1010" y="951"/>
                  </a:cubicBezTo>
                  <a:cubicBezTo>
                    <a:pt x="1010" y="899"/>
                    <a:pt x="1069" y="929"/>
                    <a:pt x="1069" y="877"/>
                  </a:cubicBezTo>
                  <a:cubicBezTo>
                    <a:pt x="1076" y="877"/>
                    <a:pt x="1076" y="877"/>
                    <a:pt x="1076" y="877"/>
                  </a:cubicBezTo>
                  <a:cubicBezTo>
                    <a:pt x="1076" y="854"/>
                    <a:pt x="1076" y="847"/>
                    <a:pt x="1076" y="840"/>
                  </a:cubicBezTo>
                  <a:cubicBezTo>
                    <a:pt x="1062" y="810"/>
                    <a:pt x="1024" y="825"/>
                    <a:pt x="995" y="817"/>
                  </a:cubicBezTo>
                  <a:cubicBezTo>
                    <a:pt x="973" y="802"/>
                    <a:pt x="958" y="758"/>
                    <a:pt x="928" y="765"/>
                  </a:cubicBezTo>
                  <a:cubicBezTo>
                    <a:pt x="928" y="765"/>
                    <a:pt x="928" y="765"/>
                    <a:pt x="928" y="773"/>
                  </a:cubicBezTo>
                  <a:cubicBezTo>
                    <a:pt x="913" y="773"/>
                    <a:pt x="913" y="736"/>
                    <a:pt x="906" y="728"/>
                  </a:cubicBezTo>
                  <a:cubicBezTo>
                    <a:pt x="891" y="706"/>
                    <a:pt x="854" y="713"/>
                    <a:pt x="831" y="713"/>
                  </a:cubicBezTo>
                  <a:cubicBezTo>
                    <a:pt x="831" y="691"/>
                    <a:pt x="831" y="669"/>
                    <a:pt x="831" y="646"/>
                  </a:cubicBezTo>
                  <a:cubicBezTo>
                    <a:pt x="809" y="639"/>
                    <a:pt x="772" y="661"/>
                    <a:pt x="750" y="661"/>
                  </a:cubicBezTo>
                  <a:cubicBezTo>
                    <a:pt x="727" y="661"/>
                    <a:pt x="705" y="661"/>
                    <a:pt x="690" y="654"/>
                  </a:cubicBezTo>
                  <a:cubicBezTo>
                    <a:pt x="638" y="639"/>
                    <a:pt x="631" y="617"/>
                    <a:pt x="624" y="572"/>
                  </a:cubicBezTo>
                  <a:cubicBezTo>
                    <a:pt x="616" y="535"/>
                    <a:pt x="549" y="550"/>
                    <a:pt x="519" y="528"/>
                  </a:cubicBezTo>
                  <a:cubicBezTo>
                    <a:pt x="497" y="513"/>
                    <a:pt x="475" y="476"/>
                    <a:pt x="438" y="476"/>
                  </a:cubicBezTo>
                  <a:cubicBezTo>
                    <a:pt x="445" y="446"/>
                    <a:pt x="408" y="379"/>
                    <a:pt x="379" y="372"/>
                  </a:cubicBezTo>
                  <a:cubicBezTo>
                    <a:pt x="334" y="357"/>
                    <a:pt x="319" y="364"/>
                    <a:pt x="319" y="320"/>
                  </a:cubicBezTo>
                  <a:cubicBezTo>
                    <a:pt x="319" y="297"/>
                    <a:pt x="304" y="290"/>
                    <a:pt x="304" y="275"/>
                  </a:cubicBezTo>
                  <a:cubicBezTo>
                    <a:pt x="304" y="253"/>
                    <a:pt x="327" y="246"/>
                    <a:pt x="341" y="231"/>
                  </a:cubicBezTo>
                  <a:cubicBezTo>
                    <a:pt x="349" y="201"/>
                    <a:pt x="304" y="201"/>
                    <a:pt x="304" y="223"/>
                  </a:cubicBezTo>
                  <a:cubicBezTo>
                    <a:pt x="297" y="223"/>
                    <a:pt x="289" y="223"/>
                    <a:pt x="282" y="223"/>
                  </a:cubicBezTo>
                  <a:cubicBezTo>
                    <a:pt x="267" y="201"/>
                    <a:pt x="267" y="179"/>
                    <a:pt x="237" y="171"/>
                  </a:cubicBezTo>
                  <a:cubicBezTo>
                    <a:pt x="245" y="156"/>
                    <a:pt x="245" y="134"/>
                    <a:pt x="245" y="119"/>
                  </a:cubicBezTo>
                  <a:cubicBezTo>
                    <a:pt x="237" y="119"/>
                    <a:pt x="200" y="149"/>
                    <a:pt x="200" y="156"/>
                  </a:cubicBezTo>
                  <a:cubicBezTo>
                    <a:pt x="193" y="149"/>
                    <a:pt x="200" y="134"/>
                    <a:pt x="200" y="127"/>
                  </a:cubicBezTo>
                  <a:cubicBezTo>
                    <a:pt x="185" y="119"/>
                    <a:pt x="171" y="119"/>
                    <a:pt x="156" y="119"/>
                  </a:cubicBezTo>
                  <a:cubicBezTo>
                    <a:pt x="148" y="97"/>
                    <a:pt x="185" y="89"/>
                    <a:pt x="148" y="67"/>
                  </a:cubicBezTo>
                  <a:cubicBezTo>
                    <a:pt x="119" y="45"/>
                    <a:pt x="104" y="52"/>
                    <a:pt x="96" y="82"/>
                  </a:cubicBezTo>
                  <a:cubicBezTo>
                    <a:pt x="82" y="89"/>
                    <a:pt x="74" y="75"/>
                    <a:pt x="67" y="60"/>
                  </a:cubicBezTo>
                  <a:cubicBezTo>
                    <a:pt x="96" y="52"/>
                    <a:pt x="67" y="15"/>
                    <a:pt x="44" y="23"/>
                  </a:cubicBezTo>
                  <a:cubicBezTo>
                    <a:pt x="44" y="23"/>
                    <a:pt x="29" y="15"/>
                    <a:pt x="0" y="0"/>
                  </a:cubicBezTo>
                  <a:cubicBezTo>
                    <a:pt x="0" y="8"/>
                    <a:pt x="7" y="8"/>
                    <a:pt x="7" y="8"/>
                  </a:cubicBezTo>
                  <a:cubicBezTo>
                    <a:pt x="29" y="52"/>
                    <a:pt x="59" y="97"/>
                    <a:pt x="67" y="149"/>
                  </a:cubicBezTo>
                  <a:cubicBezTo>
                    <a:pt x="74" y="194"/>
                    <a:pt x="89" y="238"/>
                    <a:pt x="104" y="283"/>
                  </a:cubicBezTo>
                  <a:cubicBezTo>
                    <a:pt x="119" y="327"/>
                    <a:pt x="126" y="372"/>
                    <a:pt x="148" y="409"/>
                  </a:cubicBezTo>
                  <a:cubicBezTo>
                    <a:pt x="156" y="424"/>
                    <a:pt x="163" y="446"/>
                    <a:pt x="163" y="461"/>
                  </a:cubicBezTo>
                  <a:cubicBezTo>
                    <a:pt x="163" y="476"/>
                    <a:pt x="163" y="498"/>
                    <a:pt x="163" y="513"/>
                  </a:cubicBezTo>
                  <a:cubicBezTo>
                    <a:pt x="178" y="535"/>
                    <a:pt x="171" y="520"/>
                    <a:pt x="185" y="520"/>
                  </a:cubicBezTo>
                  <a:cubicBezTo>
                    <a:pt x="193" y="520"/>
                    <a:pt x="200" y="528"/>
                    <a:pt x="208" y="528"/>
                  </a:cubicBezTo>
                  <a:cubicBezTo>
                    <a:pt x="215" y="528"/>
                    <a:pt x="230" y="520"/>
                    <a:pt x="237" y="528"/>
                  </a:cubicBezTo>
                  <a:cubicBezTo>
                    <a:pt x="245" y="535"/>
                    <a:pt x="237" y="543"/>
                    <a:pt x="230" y="543"/>
                  </a:cubicBezTo>
                  <a:cubicBezTo>
                    <a:pt x="230" y="550"/>
                    <a:pt x="289" y="587"/>
                    <a:pt x="297" y="594"/>
                  </a:cubicBezTo>
                  <a:cubicBezTo>
                    <a:pt x="289" y="594"/>
                    <a:pt x="274" y="594"/>
                    <a:pt x="260" y="594"/>
                  </a:cubicBezTo>
                  <a:cubicBezTo>
                    <a:pt x="260" y="609"/>
                    <a:pt x="274" y="617"/>
                    <a:pt x="282" y="631"/>
                  </a:cubicBezTo>
                  <a:cubicBezTo>
                    <a:pt x="297" y="646"/>
                    <a:pt x="282" y="654"/>
                    <a:pt x="304" y="669"/>
                  </a:cubicBezTo>
                  <a:cubicBezTo>
                    <a:pt x="319" y="676"/>
                    <a:pt x="334" y="684"/>
                    <a:pt x="349" y="691"/>
                  </a:cubicBezTo>
                  <a:cubicBezTo>
                    <a:pt x="364" y="706"/>
                    <a:pt x="371" y="713"/>
                    <a:pt x="386" y="713"/>
                  </a:cubicBezTo>
                  <a:cubicBezTo>
                    <a:pt x="386" y="728"/>
                    <a:pt x="401" y="743"/>
                    <a:pt x="416" y="758"/>
                  </a:cubicBezTo>
                  <a:cubicBezTo>
                    <a:pt x="423" y="765"/>
                    <a:pt x="445" y="780"/>
                    <a:pt x="445" y="795"/>
                  </a:cubicBezTo>
                  <a:cubicBezTo>
                    <a:pt x="453" y="817"/>
                    <a:pt x="445" y="825"/>
                    <a:pt x="453" y="847"/>
                  </a:cubicBezTo>
                  <a:cubicBezTo>
                    <a:pt x="460" y="854"/>
                    <a:pt x="467" y="877"/>
                    <a:pt x="482" y="877"/>
                  </a:cubicBezTo>
                  <a:lnTo>
                    <a:pt x="482" y="884"/>
                  </a:lnTo>
                  <a:cubicBezTo>
                    <a:pt x="475" y="884"/>
                    <a:pt x="467" y="884"/>
                    <a:pt x="460" y="884"/>
                  </a:cubicBezTo>
                  <a:cubicBezTo>
                    <a:pt x="460" y="899"/>
                    <a:pt x="475" y="906"/>
                    <a:pt x="475" y="921"/>
                  </a:cubicBezTo>
                  <a:cubicBezTo>
                    <a:pt x="475" y="929"/>
                    <a:pt x="475" y="943"/>
                    <a:pt x="475" y="951"/>
                  </a:cubicBezTo>
                  <a:cubicBezTo>
                    <a:pt x="482" y="966"/>
                    <a:pt x="482" y="966"/>
                    <a:pt x="497" y="973"/>
                  </a:cubicBezTo>
                  <a:cubicBezTo>
                    <a:pt x="512" y="973"/>
                    <a:pt x="505" y="966"/>
                    <a:pt x="519" y="981"/>
                  </a:cubicBezTo>
                  <a:cubicBezTo>
                    <a:pt x="527" y="988"/>
                    <a:pt x="534" y="1003"/>
                    <a:pt x="534" y="1010"/>
                  </a:cubicBezTo>
                  <a:cubicBezTo>
                    <a:pt x="542" y="1018"/>
                    <a:pt x="542" y="1033"/>
                    <a:pt x="549" y="1040"/>
                  </a:cubicBezTo>
                  <a:cubicBezTo>
                    <a:pt x="557" y="1048"/>
                    <a:pt x="601" y="1033"/>
                    <a:pt x="601" y="1055"/>
                  </a:cubicBezTo>
                  <a:cubicBezTo>
                    <a:pt x="586" y="1055"/>
                    <a:pt x="572" y="1055"/>
                    <a:pt x="564" y="1055"/>
                  </a:cubicBezTo>
                  <a:cubicBezTo>
                    <a:pt x="557" y="1062"/>
                    <a:pt x="572" y="1062"/>
                    <a:pt x="579" y="1077"/>
                  </a:cubicBezTo>
                  <a:cubicBezTo>
                    <a:pt x="586" y="1085"/>
                    <a:pt x="579" y="1092"/>
                    <a:pt x="579" y="1099"/>
                  </a:cubicBezTo>
                  <a:cubicBezTo>
                    <a:pt x="579" y="1129"/>
                    <a:pt x="594" y="1144"/>
                    <a:pt x="594" y="1166"/>
                  </a:cubicBezTo>
                  <a:cubicBezTo>
                    <a:pt x="594" y="1166"/>
                    <a:pt x="594" y="1166"/>
                    <a:pt x="601" y="1166"/>
                  </a:cubicBezTo>
                  <a:cubicBezTo>
                    <a:pt x="609" y="1166"/>
                    <a:pt x="624" y="1159"/>
                    <a:pt x="638" y="1159"/>
                  </a:cubicBezTo>
                  <a:cubicBezTo>
                    <a:pt x="638" y="1181"/>
                    <a:pt x="609" y="1181"/>
                    <a:pt x="609" y="1196"/>
                  </a:cubicBezTo>
                  <a:cubicBezTo>
                    <a:pt x="609" y="1211"/>
                    <a:pt x="624" y="1226"/>
                    <a:pt x="624" y="1241"/>
                  </a:cubicBezTo>
                  <a:cubicBezTo>
                    <a:pt x="631" y="1255"/>
                    <a:pt x="631" y="1278"/>
                    <a:pt x="631" y="1293"/>
                  </a:cubicBezTo>
                  <a:cubicBezTo>
                    <a:pt x="638" y="1307"/>
                    <a:pt x="638" y="1322"/>
                    <a:pt x="646" y="1337"/>
                  </a:cubicBezTo>
                  <a:cubicBezTo>
                    <a:pt x="646" y="1359"/>
                    <a:pt x="653" y="1374"/>
                    <a:pt x="661" y="1389"/>
                  </a:cubicBezTo>
                  <a:cubicBezTo>
                    <a:pt x="661" y="1404"/>
                    <a:pt x="661" y="1426"/>
                    <a:pt x="661" y="1441"/>
                  </a:cubicBezTo>
                  <a:cubicBezTo>
                    <a:pt x="668" y="1456"/>
                    <a:pt x="676" y="1478"/>
                    <a:pt x="683" y="1493"/>
                  </a:cubicBezTo>
                  <a:cubicBezTo>
                    <a:pt x="683" y="1508"/>
                    <a:pt x="676" y="1530"/>
                    <a:pt x="683" y="1545"/>
                  </a:cubicBezTo>
                  <a:cubicBezTo>
                    <a:pt x="683" y="1530"/>
                    <a:pt x="683" y="1515"/>
                    <a:pt x="690" y="1508"/>
                  </a:cubicBezTo>
                  <a:cubicBezTo>
                    <a:pt x="690" y="1508"/>
                    <a:pt x="690" y="1508"/>
                    <a:pt x="698" y="1508"/>
                  </a:cubicBezTo>
                  <a:cubicBezTo>
                    <a:pt x="698" y="1500"/>
                    <a:pt x="698" y="1493"/>
                    <a:pt x="698" y="1486"/>
                  </a:cubicBezTo>
                  <a:cubicBezTo>
                    <a:pt x="705" y="1486"/>
                    <a:pt x="705" y="1486"/>
                    <a:pt x="705" y="1493"/>
                  </a:cubicBezTo>
                  <a:cubicBezTo>
                    <a:pt x="713" y="1493"/>
                    <a:pt x="720" y="1493"/>
                    <a:pt x="727" y="1508"/>
                  </a:cubicBezTo>
                  <a:cubicBezTo>
                    <a:pt x="727" y="1515"/>
                    <a:pt x="727" y="1523"/>
                    <a:pt x="713" y="1523"/>
                  </a:cubicBezTo>
                  <a:cubicBezTo>
                    <a:pt x="713" y="1538"/>
                    <a:pt x="720" y="1545"/>
                    <a:pt x="720" y="1553"/>
                  </a:cubicBezTo>
                  <a:cubicBezTo>
                    <a:pt x="713" y="1545"/>
                    <a:pt x="698" y="1545"/>
                    <a:pt x="690" y="1545"/>
                  </a:cubicBezTo>
                  <a:cubicBezTo>
                    <a:pt x="690" y="1560"/>
                    <a:pt x="698" y="1567"/>
                    <a:pt x="698" y="1582"/>
                  </a:cubicBezTo>
                  <a:cubicBezTo>
                    <a:pt x="705" y="1582"/>
                    <a:pt x="727" y="1612"/>
                    <a:pt x="727" y="1619"/>
                  </a:cubicBezTo>
                  <a:cubicBezTo>
                    <a:pt x="735" y="1634"/>
                    <a:pt x="735" y="1642"/>
                    <a:pt x="735" y="1649"/>
                  </a:cubicBezTo>
                  <a:cubicBezTo>
                    <a:pt x="742" y="1664"/>
                    <a:pt x="742" y="1686"/>
                    <a:pt x="765" y="1686"/>
                  </a:cubicBezTo>
                  <a:cubicBezTo>
                    <a:pt x="757" y="1664"/>
                    <a:pt x="779" y="1679"/>
                    <a:pt x="787" y="1686"/>
                  </a:cubicBezTo>
                  <a:cubicBezTo>
                    <a:pt x="794" y="1693"/>
                    <a:pt x="802" y="1708"/>
                    <a:pt x="809" y="1723"/>
                  </a:cubicBezTo>
                  <a:cubicBezTo>
                    <a:pt x="779" y="1723"/>
                    <a:pt x="779" y="1723"/>
                    <a:pt x="772" y="1693"/>
                  </a:cubicBezTo>
                  <a:lnTo>
                    <a:pt x="765" y="1693"/>
                  </a:lnTo>
                  <a:cubicBezTo>
                    <a:pt x="765" y="1716"/>
                    <a:pt x="779" y="1731"/>
                    <a:pt x="787" y="1753"/>
                  </a:cubicBezTo>
                  <a:cubicBezTo>
                    <a:pt x="787" y="1760"/>
                    <a:pt x="787" y="1768"/>
                    <a:pt x="794" y="1783"/>
                  </a:cubicBezTo>
                  <a:cubicBezTo>
                    <a:pt x="802" y="1790"/>
                    <a:pt x="802" y="1798"/>
                    <a:pt x="809" y="1805"/>
                  </a:cubicBezTo>
                  <a:cubicBezTo>
                    <a:pt x="809" y="1820"/>
                    <a:pt x="809" y="1827"/>
                    <a:pt x="809" y="1842"/>
                  </a:cubicBezTo>
                  <a:cubicBezTo>
                    <a:pt x="809" y="1842"/>
                    <a:pt x="809" y="1850"/>
                    <a:pt x="809" y="1857"/>
                  </a:cubicBezTo>
                  <a:cubicBezTo>
                    <a:pt x="809" y="1864"/>
                    <a:pt x="817" y="1864"/>
                    <a:pt x="824" y="1872"/>
                  </a:cubicBezTo>
                  <a:cubicBezTo>
                    <a:pt x="831" y="1887"/>
                    <a:pt x="831" y="1909"/>
                    <a:pt x="831" y="1931"/>
                  </a:cubicBezTo>
                  <a:cubicBezTo>
                    <a:pt x="839" y="1924"/>
                    <a:pt x="854" y="1924"/>
                    <a:pt x="861" y="1924"/>
                  </a:cubicBezTo>
                  <a:cubicBezTo>
                    <a:pt x="869" y="1916"/>
                    <a:pt x="861" y="1901"/>
                    <a:pt x="861" y="1887"/>
                  </a:cubicBezTo>
                  <a:cubicBezTo>
                    <a:pt x="876" y="1901"/>
                    <a:pt x="891" y="1968"/>
                    <a:pt x="906" y="1968"/>
                  </a:cubicBezTo>
                  <a:cubicBezTo>
                    <a:pt x="891" y="1968"/>
                    <a:pt x="884" y="1953"/>
                    <a:pt x="869" y="1953"/>
                  </a:cubicBezTo>
                  <a:lnTo>
                    <a:pt x="869" y="1946"/>
                  </a:lnTo>
                  <a:cubicBezTo>
                    <a:pt x="846" y="1939"/>
                    <a:pt x="861" y="1968"/>
                    <a:pt x="861" y="1976"/>
                  </a:cubicBezTo>
                  <a:cubicBezTo>
                    <a:pt x="854" y="1976"/>
                    <a:pt x="854" y="1983"/>
                    <a:pt x="846" y="1983"/>
                  </a:cubicBezTo>
                  <a:cubicBezTo>
                    <a:pt x="854" y="1990"/>
                    <a:pt x="854" y="2005"/>
                    <a:pt x="854" y="2013"/>
                  </a:cubicBezTo>
                  <a:cubicBezTo>
                    <a:pt x="861" y="2035"/>
                    <a:pt x="861" y="2050"/>
                    <a:pt x="876" y="2065"/>
                  </a:cubicBezTo>
                  <a:cubicBezTo>
                    <a:pt x="891" y="2080"/>
                    <a:pt x="898" y="2102"/>
                    <a:pt x="913" y="2117"/>
                  </a:cubicBezTo>
                  <a:cubicBezTo>
                    <a:pt x="921" y="2132"/>
                    <a:pt x="935" y="2139"/>
                    <a:pt x="943" y="2154"/>
                  </a:cubicBezTo>
                  <a:cubicBezTo>
                    <a:pt x="958" y="2169"/>
                    <a:pt x="973" y="2176"/>
                    <a:pt x="973" y="2198"/>
                  </a:cubicBezTo>
                  <a:cubicBezTo>
                    <a:pt x="980" y="2221"/>
                    <a:pt x="973" y="2236"/>
                    <a:pt x="973" y="2250"/>
                  </a:cubicBezTo>
                  <a:cubicBezTo>
                    <a:pt x="973" y="2273"/>
                    <a:pt x="987" y="2280"/>
                    <a:pt x="987" y="2302"/>
                  </a:cubicBezTo>
                  <a:cubicBezTo>
                    <a:pt x="987" y="2347"/>
                    <a:pt x="987" y="2384"/>
                    <a:pt x="987" y="2421"/>
                  </a:cubicBezTo>
                  <a:cubicBezTo>
                    <a:pt x="1002" y="2421"/>
                    <a:pt x="1010" y="2421"/>
                    <a:pt x="1024" y="2421"/>
                  </a:cubicBezTo>
                  <a:cubicBezTo>
                    <a:pt x="1017" y="2414"/>
                    <a:pt x="1024" y="2414"/>
                    <a:pt x="1024" y="2406"/>
                  </a:cubicBezTo>
                  <a:cubicBezTo>
                    <a:pt x="1047" y="2421"/>
                    <a:pt x="1062" y="2429"/>
                    <a:pt x="1054" y="2458"/>
                  </a:cubicBezTo>
                  <a:cubicBezTo>
                    <a:pt x="1032" y="2458"/>
                    <a:pt x="1017" y="2451"/>
                    <a:pt x="995" y="2444"/>
                  </a:cubicBezTo>
                  <a:cubicBezTo>
                    <a:pt x="965" y="2444"/>
                    <a:pt x="950" y="2451"/>
                    <a:pt x="950" y="2421"/>
                  </a:cubicBezTo>
                  <a:cubicBezTo>
                    <a:pt x="950" y="2399"/>
                    <a:pt x="950" y="2384"/>
                    <a:pt x="958" y="2362"/>
                  </a:cubicBezTo>
                  <a:cubicBezTo>
                    <a:pt x="958" y="2355"/>
                    <a:pt x="973" y="2332"/>
                    <a:pt x="973" y="2317"/>
                  </a:cubicBezTo>
                  <a:cubicBezTo>
                    <a:pt x="965" y="2302"/>
                    <a:pt x="943" y="2317"/>
                    <a:pt x="935" y="2288"/>
                  </a:cubicBezTo>
                  <a:cubicBezTo>
                    <a:pt x="935" y="2273"/>
                    <a:pt x="935" y="2250"/>
                    <a:pt x="928" y="2236"/>
                  </a:cubicBezTo>
                  <a:cubicBezTo>
                    <a:pt x="921" y="2213"/>
                    <a:pt x="921" y="2198"/>
                    <a:pt x="921" y="2176"/>
                  </a:cubicBezTo>
                  <a:cubicBezTo>
                    <a:pt x="913" y="2161"/>
                    <a:pt x="906" y="2154"/>
                    <a:pt x="898" y="2139"/>
                  </a:cubicBezTo>
                  <a:cubicBezTo>
                    <a:pt x="891" y="2124"/>
                    <a:pt x="891" y="2117"/>
                    <a:pt x="884" y="2109"/>
                  </a:cubicBezTo>
                  <a:cubicBezTo>
                    <a:pt x="876" y="2102"/>
                    <a:pt x="869" y="2102"/>
                    <a:pt x="869" y="2087"/>
                  </a:cubicBezTo>
                  <a:cubicBezTo>
                    <a:pt x="869" y="2154"/>
                    <a:pt x="906" y="2198"/>
                    <a:pt x="906" y="2258"/>
                  </a:cubicBezTo>
                  <a:cubicBezTo>
                    <a:pt x="913" y="2295"/>
                    <a:pt x="921" y="2325"/>
                    <a:pt x="913" y="2362"/>
                  </a:cubicBezTo>
                  <a:cubicBezTo>
                    <a:pt x="913" y="2392"/>
                    <a:pt x="913" y="2421"/>
                    <a:pt x="921" y="2451"/>
                  </a:cubicBezTo>
                  <a:cubicBezTo>
                    <a:pt x="921" y="2473"/>
                    <a:pt x="935" y="2495"/>
                    <a:pt x="943" y="2518"/>
                  </a:cubicBezTo>
                  <a:cubicBezTo>
                    <a:pt x="958" y="2547"/>
                    <a:pt x="950" y="2570"/>
                    <a:pt x="950" y="2600"/>
                  </a:cubicBezTo>
                  <a:cubicBezTo>
                    <a:pt x="958" y="2622"/>
                    <a:pt x="973" y="2644"/>
                    <a:pt x="980" y="2666"/>
                  </a:cubicBezTo>
                  <a:cubicBezTo>
                    <a:pt x="995" y="2689"/>
                    <a:pt x="1002" y="2718"/>
                    <a:pt x="1010" y="2741"/>
                  </a:cubicBezTo>
                  <a:cubicBezTo>
                    <a:pt x="1017" y="2755"/>
                    <a:pt x="1017" y="2770"/>
                    <a:pt x="1024" y="2785"/>
                  </a:cubicBezTo>
                  <a:cubicBezTo>
                    <a:pt x="1024" y="2792"/>
                    <a:pt x="1024" y="2807"/>
                    <a:pt x="1032" y="2815"/>
                  </a:cubicBezTo>
                  <a:cubicBezTo>
                    <a:pt x="1039" y="2800"/>
                    <a:pt x="1032" y="2792"/>
                    <a:pt x="1032" y="2778"/>
                  </a:cubicBezTo>
                  <a:cubicBezTo>
                    <a:pt x="1032" y="2770"/>
                    <a:pt x="1032" y="2763"/>
                    <a:pt x="1032" y="2748"/>
                  </a:cubicBezTo>
                  <a:cubicBezTo>
                    <a:pt x="1032" y="2741"/>
                    <a:pt x="1032" y="2733"/>
                    <a:pt x="1024" y="2726"/>
                  </a:cubicBezTo>
                  <a:cubicBezTo>
                    <a:pt x="1017" y="2711"/>
                    <a:pt x="1010" y="2703"/>
                    <a:pt x="1010" y="2696"/>
                  </a:cubicBezTo>
                  <a:cubicBezTo>
                    <a:pt x="1010" y="2703"/>
                    <a:pt x="1024" y="2711"/>
                    <a:pt x="1024" y="2718"/>
                  </a:cubicBezTo>
                  <a:cubicBezTo>
                    <a:pt x="1024" y="2726"/>
                    <a:pt x="1032" y="2733"/>
                    <a:pt x="1032" y="2741"/>
                  </a:cubicBezTo>
                  <a:cubicBezTo>
                    <a:pt x="1039" y="2748"/>
                    <a:pt x="1039" y="2755"/>
                    <a:pt x="1039" y="2770"/>
                  </a:cubicBezTo>
                  <a:cubicBezTo>
                    <a:pt x="1047" y="2778"/>
                    <a:pt x="1047" y="2785"/>
                    <a:pt x="1047" y="2800"/>
                  </a:cubicBezTo>
                  <a:cubicBezTo>
                    <a:pt x="1047" y="2807"/>
                    <a:pt x="1054" y="2807"/>
                    <a:pt x="1054" y="2815"/>
                  </a:cubicBezTo>
                  <a:cubicBezTo>
                    <a:pt x="1054" y="2822"/>
                    <a:pt x="1039" y="2822"/>
                    <a:pt x="1039" y="2837"/>
                  </a:cubicBezTo>
                  <a:cubicBezTo>
                    <a:pt x="1054" y="2845"/>
                    <a:pt x="1047" y="2867"/>
                    <a:pt x="1062" y="2882"/>
                  </a:cubicBezTo>
                  <a:cubicBezTo>
                    <a:pt x="1069" y="2867"/>
                    <a:pt x="1076" y="2882"/>
                    <a:pt x="1084" y="2874"/>
                  </a:cubicBezTo>
                  <a:cubicBezTo>
                    <a:pt x="1091" y="2867"/>
                    <a:pt x="1084" y="2852"/>
                    <a:pt x="1099" y="2845"/>
                  </a:cubicBezTo>
                  <a:cubicBezTo>
                    <a:pt x="1114" y="2837"/>
                    <a:pt x="1136" y="2867"/>
                    <a:pt x="1143" y="2882"/>
                  </a:cubicBezTo>
                  <a:cubicBezTo>
                    <a:pt x="1129" y="2889"/>
                    <a:pt x="1106" y="2889"/>
                    <a:pt x="1091" y="2904"/>
                  </a:cubicBezTo>
                  <a:cubicBezTo>
                    <a:pt x="1099" y="2911"/>
                    <a:pt x="1106" y="2919"/>
                    <a:pt x="1114" y="2919"/>
                  </a:cubicBezTo>
                  <a:cubicBezTo>
                    <a:pt x="1106" y="2919"/>
                    <a:pt x="1091" y="2926"/>
                    <a:pt x="1084" y="2919"/>
                  </a:cubicBezTo>
                  <a:cubicBezTo>
                    <a:pt x="1084" y="2934"/>
                    <a:pt x="1099" y="2956"/>
                    <a:pt x="1114" y="2963"/>
                  </a:cubicBezTo>
                  <a:cubicBezTo>
                    <a:pt x="1121" y="2963"/>
                    <a:pt x="1158" y="2963"/>
                    <a:pt x="1166" y="2963"/>
                  </a:cubicBezTo>
                  <a:cubicBezTo>
                    <a:pt x="1166" y="2971"/>
                    <a:pt x="1166" y="2986"/>
                    <a:pt x="1166" y="2993"/>
                  </a:cubicBezTo>
                  <a:cubicBezTo>
                    <a:pt x="1158" y="2986"/>
                    <a:pt x="1151" y="2986"/>
                    <a:pt x="1136" y="2986"/>
                  </a:cubicBezTo>
                  <a:cubicBezTo>
                    <a:pt x="1136" y="3023"/>
                    <a:pt x="1203" y="3082"/>
                    <a:pt x="1218" y="3112"/>
                  </a:cubicBezTo>
                  <a:cubicBezTo>
                    <a:pt x="1255" y="3157"/>
                    <a:pt x="1292" y="3201"/>
                    <a:pt x="1329" y="3246"/>
                  </a:cubicBezTo>
                  <a:cubicBezTo>
                    <a:pt x="1351" y="3268"/>
                    <a:pt x="1359" y="3290"/>
                    <a:pt x="1366" y="3312"/>
                  </a:cubicBezTo>
                  <a:cubicBezTo>
                    <a:pt x="1381" y="3349"/>
                    <a:pt x="1396" y="3349"/>
                    <a:pt x="1426" y="3364"/>
                  </a:cubicBezTo>
                  <a:cubicBezTo>
                    <a:pt x="1440" y="3372"/>
                    <a:pt x="1463" y="3387"/>
                    <a:pt x="1470" y="3409"/>
                  </a:cubicBezTo>
                  <a:cubicBezTo>
                    <a:pt x="1478" y="3416"/>
                    <a:pt x="1485" y="3424"/>
                    <a:pt x="1485" y="3431"/>
                  </a:cubicBezTo>
                  <a:cubicBezTo>
                    <a:pt x="1492" y="3431"/>
                    <a:pt x="1500" y="3424"/>
                    <a:pt x="1500" y="3424"/>
                  </a:cubicBezTo>
                </a:path>
              </a:pathLst>
            </a:custGeom>
            <a:grpFill/>
            <a:ln w="6350" cap="flat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lIns="60927" tIns="30463" rIns="60927" bIns="30463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0" name="Freeform 12"/>
            <p:cNvSpPr>
              <a:spLocks noChangeArrowheads="1"/>
            </p:cNvSpPr>
            <p:nvPr/>
          </p:nvSpPr>
          <p:spPr bwMode="auto">
            <a:xfrm>
              <a:off x="12497600" y="6065177"/>
              <a:ext cx="1420243" cy="1072569"/>
            </a:xfrm>
            <a:custGeom>
              <a:avLst/>
              <a:gdLst>
                <a:gd name="T0" fmla="*/ 416 w 3284"/>
                <a:gd name="T1" fmla="*/ 312 h 2481"/>
                <a:gd name="T2" fmla="*/ 617 w 3284"/>
                <a:gd name="T3" fmla="*/ 527 h 2481"/>
                <a:gd name="T4" fmla="*/ 713 w 3284"/>
                <a:gd name="T5" fmla="*/ 660 h 2481"/>
                <a:gd name="T6" fmla="*/ 453 w 3284"/>
                <a:gd name="T7" fmla="*/ 749 h 2481"/>
                <a:gd name="T8" fmla="*/ 565 w 3284"/>
                <a:gd name="T9" fmla="*/ 883 h 2481"/>
                <a:gd name="T10" fmla="*/ 542 w 3284"/>
                <a:gd name="T11" fmla="*/ 1091 h 2481"/>
                <a:gd name="T12" fmla="*/ 802 w 3284"/>
                <a:gd name="T13" fmla="*/ 1277 h 2481"/>
                <a:gd name="T14" fmla="*/ 594 w 3284"/>
                <a:gd name="T15" fmla="*/ 1403 h 2481"/>
                <a:gd name="T16" fmla="*/ 424 w 3284"/>
                <a:gd name="T17" fmla="*/ 1470 h 2481"/>
                <a:gd name="T18" fmla="*/ 97 w 3284"/>
                <a:gd name="T19" fmla="*/ 1693 h 2481"/>
                <a:gd name="T20" fmla="*/ 75 w 3284"/>
                <a:gd name="T21" fmla="*/ 2064 h 2481"/>
                <a:gd name="T22" fmla="*/ 52 w 3284"/>
                <a:gd name="T23" fmla="*/ 2257 h 2481"/>
                <a:gd name="T24" fmla="*/ 468 w 3284"/>
                <a:gd name="T25" fmla="*/ 2250 h 2481"/>
                <a:gd name="T26" fmla="*/ 721 w 3284"/>
                <a:gd name="T27" fmla="*/ 2406 h 2481"/>
                <a:gd name="T28" fmla="*/ 966 w 3284"/>
                <a:gd name="T29" fmla="*/ 2391 h 2481"/>
                <a:gd name="T30" fmla="*/ 1166 w 3284"/>
                <a:gd name="T31" fmla="*/ 2443 h 2481"/>
                <a:gd name="T32" fmla="*/ 1471 w 3284"/>
                <a:gd name="T33" fmla="*/ 2331 h 2481"/>
                <a:gd name="T34" fmla="*/ 1560 w 3284"/>
                <a:gd name="T35" fmla="*/ 2242 h 2481"/>
                <a:gd name="T36" fmla="*/ 1612 w 3284"/>
                <a:gd name="T37" fmla="*/ 2108 h 2481"/>
                <a:gd name="T38" fmla="*/ 1827 w 3284"/>
                <a:gd name="T39" fmla="*/ 2138 h 2481"/>
                <a:gd name="T40" fmla="*/ 1983 w 3284"/>
                <a:gd name="T41" fmla="*/ 2316 h 2481"/>
                <a:gd name="T42" fmla="*/ 2117 w 3284"/>
                <a:gd name="T43" fmla="*/ 2316 h 2481"/>
                <a:gd name="T44" fmla="*/ 2213 w 3284"/>
                <a:gd name="T45" fmla="*/ 2302 h 2481"/>
                <a:gd name="T46" fmla="*/ 2406 w 3284"/>
                <a:gd name="T47" fmla="*/ 2227 h 2481"/>
                <a:gd name="T48" fmla="*/ 2518 w 3284"/>
                <a:gd name="T49" fmla="*/ 2049 h 2481"/>
                <a:gd name="T50" fmla="*/ 2748 w 3284"/>
                <a:gd name="T51" fmla="*/ 1782 h 2481"/>
                <a:gd name="T52" fmla="*/ 2904 w 3284"/>
                <a:gd name="T53" fmla="*/ 1730 h 2481"/>
                <a:gd name="T54" fmla="*/ 2963 w 3284"/>
                <a:gd name="T55" fmla="*/ 1544 h 2481"/>
                <a:gd name="T56" fmla="*/ 3149 w 3284"/>
                <a:gd name="T57" fmla="*/ 1500 h 2481"/>
                <a:gd name="T58" fmla="*/ 3001 w 3284"/>
                <a:gd name="T59" fmla="*/ 1099 h 2481"/>
                <a:gd name="T60" fmla="*/ 3142 w 3284"/>
                <a:gd name="T61" fmla="*/ 1017 h 2481"/>
                <a:gd name="T62" fmla="*/ 3231 w 3284"/>
                <a:gd name="T63" fmla="*/ 757 h 2481"/>
                <a:gd name="T64" fmla="*/ 3142 w 3284"/>
                <a:gd name="T65" fmla="*/ 705 h 2481"/>
                <a:gd name="T66" fmla="*/ 3097 w 3284"/>
                <a:gd name="T67" fmla="*/ 824 h 2481"/>
                <a:gd name="T68" fmla="*/ 2867 w 3284"/>
                <a:gd name="T69" fmla="*/ 787 h 2481"/>
                <a:gd name="T70" fmla="*/ 2659 w 3284"/>
                <a:gd name="T71" fmla="*/ 854 h 2481"/>
                <a:gd name="T72" fmla="*/ 2511 w 3284"/>
                <a:gd name="T73" fmla="*/ 794 h 2481"/>
                <a:gd name="T74" fmla="*/ 2421 w 3284"/>
                <a:gd name="T75" fmla="*/ 712 h 2481"/>
                <a:gd name="T76" fmla="*/ 2265 w 3284"/>
                <a:gd name="T77" fmla="*/ 802 h 2481"/>
                <a:gd name="T78" fmla="*/ 2102 w 3284"/>
                <a:gd name="T79" fmla="*/ 698 h 2481"/>
                <a:gd name="T80" fmla="*/ 1879 w 3284"/>
                <a:gd name="T81" fmla="*/ 660 h 2481"/>
                <a:gd name="T82" fmla="*/ 1738 w 3284"/>
                <a:gd name="T83" fmla="*/ 675 h 2481"/>
                <a:gd name="T84" fmla="*/ 1604 w 3284"/>
                <a:gd name="T85" fmla="*/ 653 h 2481"/>
                <a:gd name="T86" fmla="*/ 1426 w 3284"/>
                <a:gd name="T87" fmla="*/ 549 h 2481"/>
                <a:gd name="T88" fmla="*/ 1255 w 3284"/>
                <a:gd name="T89" fmla="*/ 490 h 2481"/>
                <a:gd name="T90" fmla="*/ 944 w 3284"/>
                <a:gd name="T91" fmla="*/ 386 h 2481"/>
                <a:gd name="T92" fmla="*/ 907 w 3284"/>
                <a:gd name="T93" fmla="*/ 133 h 2481"/>
                <a:gd name="T94" fmla="*/ 602 w 3284"/>
                <a:gd name="T95" fmla="*/ 29 h 2481"/>
                <a:gd name="T96" fmla="*/ 402 w 3284"/>
                <a:gd name="T97" fmla="*/ 74 h 2481"/>
                <a:gd name="T98" fmla="*/ 387 w 3284"/>
                <a:gd name="T99" fmla="*/ 193 h 2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284" h="2481">
                  <a:moveTo>
                    <a:pt x="387" y="193"/>
                  </a:moveTo>
                  <a:lnTo>
                    <a:pt x="387" y="193"/>
                  </a:lnTo>
                  <a:cubicBezTo>
                    <a:pt x="379" y="237"/>
                    <a:pt x="431" y="267"/>
                    <a:pt x="416" y="312"/>
                  </a:cubicBezTo>
                  <a:cubicBezTo>
                    <a:pt x="409" y="363"/>
                    <a:pt x="468" y="341"/>
                    <a:pt x="476" y="386"/>
                  </a:cubicBezTo>
                  <a:cubicBezTo>
                    <a:pt x="483" y="430"/>
                    <a:pt x="461" y="482"/>
                    <a:pt x="498" y="512"/>
                  </a:cubicBezTo>
                  <a:cubicBezTo>
                    <a:pt x="528" y="534"/>
                    <a:pt x="580" y="519"/>
                    <a:pt x="617" y="527"/>
                  </a:cubicBezTo>
                  <a:cubicBezTo>
                    <a:pt x="617" y="564"/>
                    <a:pt x="617" y="594"/>
                    <a:pt x="624" y="623"/>
                  </a:cubicBezTo>
                  <a:cubicBezTo>
                    <a:pt x="639" y="623"/>
                    <a:pt x="647" y="631"/>
                    <a:pt x="647" y="653"/>
                  </a:cubicBezTo>
                  <a:cubicBezTo>
                    <a:pt x="669" y="653"/>
                    <a:pt x="699" y="646"/>
                    <a:pt x="713" y="660"/>
                  </a:cubicBezTo>
                  <a:cubicBezTo>
                    <a:pt x="736" y="690"/>
                    <a:pt x="713" y="705"/>
                    <a:pt x="691" y="705"/>
                  </a:cubicBezTo>
                  <a:cubicBezTo>
                    <a:pt x="632" y="712"/>
                    <a:pt x="572" y="690"/>
                    <a:pt x="520" y="705"/>
                  </a:cubicBezTo>
                  <a:cubicBezTo>
                    <a:pt x="476" y="720"/>
                    <a:pt x="498" y="749"/>
                    <a:pt x="453" y="749"/>
                  </a:cubicBezTo>
                  <a:cubicBezTo>
                    <a:pt x="402" y="749"/>
                    <a:pt x="394" y="787"/>
                    <a:pt x="416" y="824"/>
                  </a:cubicBezTo>
                  <a:cubicBezTo>
                    <a:pt x="446" y="831"/>
                    <a:pt x="476" y="854"/>
                    <a:pt x="513" y="854"/>
                  </a:cubicBezTo>
                  <a:cubicBezTo>
                    <a:pt x="535" y="861"/>
                    <a:pt x="557" y="854"/>
                    <a:pt x="565" y="883"/>
                  </a:cubicBezTo>
                  <a:cubicBezTo>
                    <a:pt x="565" y="898"/>
                    <a:pt x="587" y="935"/>
                    <a:pt x="565" y="950"/>
                  </a:cubicBezTo>
                  <a:cubicBezTo>
                    <a:pt x="535" y="972"/>
                    <a:pt x="491" y="987"/>
                    <a:pt x="453" y="987"/>
                  </a:cubicBezTo>
                  <a:cubicBezTo>
                    <a:pt x="476" y="1039"/>
                    <a:pt x="520" y="1047"/>
                    <a:pt x="542" y="1091"/>
                  </a:cubicBezTo>
                  <a:cubicBezTo>
                    <a:pt x="557" y="1114"/>
                    <a:pt x="550" y="1136"/>
                    <a:pt x="572" y="1151"/>
                  </a:cubicBezTo>
                  <a:cubicBezTo>
                    <a:pt x="587" y="1165"/>
                    <a:pt x="602" y="1173"/>
                    <a:pt x="617" y="1180"/>
                  </a:cubicBezTo>
                  <a:cubicBezTo>
                    <a:pt x="684" y="1210"/>
                    <a:pt x="728" y="1262"/>
                    <a:pt x="802" y="1277"/>
                  </a:cubicBezTo>
                  <a:cubicBezTo>
                    <a:pt x="877" y="1299"/>
                    <a:pt x="877" y="1388"/>
                    <a:pt x="788" y="1381"/>
                  </a:cubicBezTo>
                  <a:cubicBezTo>
                    <a:pt x="750" y="1373"/>
                    <a:pt x="699" y="1336"/>
                    <a:pt x="661" y="1366"/>
                  </a:cubicBezTo>
                  <a:cubicBezTo>
                    <a:pt x="632" y="1381"/>
                    <a:pt x="632" y="1403"/>
                    <a:pt x="594" y="1403"/>
                  </a:cubicBezTo>
                  <a:cubicBezTo>
                    <a:pt x="602" y="1351"/>
                    <a:pt x="520" y="1336"/>
                    <a:pt x="505" y="1381"/>
                  </a:cubicBezTo>
                  <a:cubicBezTo>
                    <a:pt x="505" y="1403"/>
                    <a:pt x="505" y="1425"/>
                    <a:pt x="483" y="1440"/>
                  </a:cubicBezTo>
                  <a:cubicBezTo>
                    <a:pt x="461" y="1448"/>
                    <a:pt x="431" y="1448"/>
                    <a:pt x="424" y="1470"/>
                  </a:cubicBezTo>
                  <a:cubicBezTo>
                    <a:pt x="372" y="1477"/>
                    <a:pt x="357" y="1529"/>
                    <a:pt x="335" y="1566"/>
                  </a:cubicBezTo>
                  <a:cubicBezTo>
                    <a:pt x="312" y="1604"/>
                    <a:pt x="260" y="1604"/>
                    <a:pt x="223" y="1618"/>
                  </a:cubicBezTo>
                  <a:cubicBezTo>
                    <a:pt x="179" y="1648"/>
                    <a:pt x="149" y="1678"/>
                    <a:pt x="97" y="1693"/>
                  </a:cubicBezTo>
                  <a:cubicBezTo>
                    <a:pt x="52" y="1700"/>
                    <a:pt x="30" y="1737"/>
                    <a:pt x="15" y="1774"/>
                  </a:cubicBezTo>
                  <a:cubicBezTo>
                    <a:pt x="0" y="1834"/>
                    <a:pt x="0" y="1878"/>
                    <a:pt x="23" y="1930"/>
                  </a:cubicBezTo>
                  <a:cubicBezTo>
                    <a:pt x="37" y="1975"/>
                    <a:pt x="23" y="2027"/>
                    <a:pt x="75" y="2064"/>
                  </a:cubicBezTo>
                  <a:cubicBezTo>
                    <a:pt x="112" y="2094"/>
                    <a:pt x="142" y="2116"/>
                    <a:pt x="142" y="2175"/>
                  </a:cubicBezTo>
                  <a:cubicBezTo>
                    <a:pt x="134" y="2227"/>
                    <a:pt x="97" y="2242"/>
                    <a:pt x="52" y="2250"/>
                  </a:cubicBezTo>
                  <a:lnTo>
                    <a:pt x="52" y="2257"/>
                  </a:lnTo>
                  <a:cubicBezTo>
                    <a:pt x="82" y="2264"/>
                    <a:pt x="104" y="2272"/>
                    <a:pt x="119" y="2272"/>
                  </a:cubicBezTo>
                  <a:cubicBezTo>
                    <a:pt x="179" y="2316"/>
                    <a:pt x="283" y="2302"/>
                    <a:pt x="349" y="2309"/>
                  </a:cubicBezTo>
                  <a:cubicBezTo>
                    <a:pt x="416" y="2309"/>
                    <a:pt x="461" y="2324"/>
                    <a:pt x="468" y="2250"/>
                  </a:cubicBezTo>
                  <a:cubicBezTo>
                    <a:pt x="520" y="2242"/>
                    <a:pt x="535" y="2287"/>
                    <a:pt x="557" y="2331"/>
                  </a:cubicBezTo>
                  <a:cubicBezTo>
                    <a:pt x="580" y="2376"/>
                    <a:pt x="639" y="2316"/>
                    <a:pt x="669" y="2309"/>
                  </a:cubicBezTo>
                  <a:cubicBezTo>
                    <a:pt x="728" y="2294"/>
                    <a:pt x="721" y="2368"/>
                    <a:pt x="721" y="2406"/>
                  </a:cubicBezTo>
                  <a:cubicBezTo>
                    <a:pt x="728" y="2472"/>
                    <a:pt x="825" y="2480"/>
                    <a:pt x="877" y="2480"/>
                  </a:cubicBezTo>
                  <a:cubicBezTo>
                    <a:pt x="884" y="2458"/>
                    <a:pt x="884" y="2435"/>
                    <a:pt x="884" y="2413"/>
                  </a:cubicBezTo>
                  <a:cubicBezTo>
                    <a:pt x="914" y="2413"/>
                    <a:pt x="951" y="2421"/>
                    <a:pt x="966" y="2391"/>
                  </a:cubicBezTo>
                  <a:cubicBezTo>
                    <a:pt x="981" y="2368"/>
                    <a:pt x="973" y="2339"/>
                    <a:pt x="1018" y="2331"/>
                  </a:cubicBezTo>
                  <a:cubicBezTo>
                    <a:pt x="1070" y="2324"/>
                    <a:pt x="1070" y="2406"/>
                    <a:pt x="1114" y="2428"/>
                  </a:cubicBezTo>
                  <a:cubicBezTo>
                    <a:pt x="1129" y="2435"/>
                    <a:pt x="1152" y="2443"/>
                    <a:pt x="1166" y="2443"/>
                  </a:cubicBezTo>
                  <a:cubicBezTo>
                    <a:pt x="1189" y="2435"/>
                    <a:pt x="1189" y="2406"/>
                    <a:pt x="1211" y="2398"/>
                  </a:cubicBezTo>
                  <a:cubicBezTo>
                    <a:pt x="1241" y="2391"/>
                    <a:pt x="1307" y="2406"/>
                    <a:pt x="1307" y="2353"/>
                  </a:cubicBezTo>
                  <a:cubicBezTo>
                    <a:pt x="1359" y="2324"/>
                    <a:pt x="1411" y="2339"/>
                    <a:pt x="1471" y="2331"/>
                  </a:cubicBezTo>
                  <a:cubicBezTo>
                    <a:pt x="1486" y="2324"/>
                    <a:pt x="1493" y="2302"/>
                    <a:pt x="1493" y="2287"/>
                  </a:cubicBezTo>
                  <a:cubicBezTo>
                    <a:pt x="1501" y="2272"/>
                    <a:pt x="1508" y="2272"/>
                    <a:pt x="1530" y="2272"/>
                  </a:cubicBezTo>
                  <a:cubicBezTo>
                    <a:pt x="1545" y="2264"/>
                    <a:pt x="1560" y="2264"/>
                    <a:pt x="1560" y="2242"/>
                  </a:cubicBezTo>
                  <a:cubicBezTo>
                    <a:pt x="1567" y="2235"/>
                    <a:pt x="1567" y="2227"/>
                    <a:pt x="1567" y="2212"/>
                  </a:cubicBezTo>
                  <a:cubicBezTo>
                    <a:pt x="1567" y="2190"/>
                    <a:pt x="1590" y="2190"/>
                    <a:pt x="1597" y="2175"/>
                  </a:cubicBezTo>
                  <a:cubicBezTo>
                    <a:pt x="1604" y="2153"/>
                    <a:pt x="1582" y="2123"/>
                    <a:pt x="1612" y="2108"/>
                  </a:cubicBezTo>
                  <a:cubicBezTo>
                    <a:pt x="1627" y="2101"/>
                    <a:pt x="1664" y="2108"/>
                    <a:pt x="1686" y="2116"/>
                  </a:cubicBezTo>
                  <a:cubicBezTo>
                    <a:pt x="1686" y="2175"/>
                    <a:pt x="1790" y="2131"/>
                    <a:pt x="1820" y="2123"/>
                  </a:cubicBezTo>
                  <a:cubicBezTo>
                    <a:pt x="1827" y="2131"/>
                    <a:pt x="1827" y="2131"/>
                    <a:pt x="1827" y="2138"/>
                  </a:cubicBezTo>
                  <a:cubicBezTo>
                    <a:pt x="1835" y="2161"/>
                    <a:pt x="1857" y="2168"/>
                    <a:pt x="1872" y="2183"/>
                  </a:cubicBezTo>
                  <a:cubicBezTo>
                    <a:pt x="1901" y="2212"/>
                    <a:pt x="1879" y="2257"/>
                    <a:pt x="1879" y="2287"/>
                  </a:cubicBezTo>
                  <a:cubicBezTo>
                    <a:pt x="1931" y="2302"/>
                    <a:pt x="1983" y="2235"/>
                    <a:pt x="1983" y="2316"/>
                  </a:cubicBezTo>
                  <a:cubicBezTo>
                    <a:pt x="1991" y="2339"/>
                    <a:pt x="1976" y="2376"/>
                    <a:pt x="1991" y="2398"/>
                  </a:cubicBezTo>
                  <a:cubicBezTo>
                    <a:pt x="2006" y="2413"/>
                    <a:pt x="2050" y="2383"/>
                    <a:pt x="2050" y="2421"/>
                  </a:cubicBezTo>
                  <a:cubicBezTo>
                    <a:pt x="2117" y="2435"/>
                    <a:pt x="2102" y="2353"/>
                    <a:pt x="2117" y="2316"/>
                  </a:cubicBezTo>
                  <a:cubicBezTo>
                    <a:pt x="2124" y="2302"/>
                    <a:pt x="2139" y="2302"/>
                    <a:pt x="2154" y="2294"/>
                  </a:cubicBezTo>
                  <a:cubicBezTo>
                    <a:pt x="2161" y="2279"/>
                    <a:pt x="2154" y="2264"/>
                    <a:pt x="2169" y="2257"/>
                  </a:cubicBezTo>
                  <a:cubicBezTo>
                    <a:pt x="2199" y="2235"/>
                    <a:pt x="2213" y="2279"/>
                    <a:pt x="2213" y="2302"/>
                  </a:cubicBezTo>
                  <a:cubicBezTo>
                    <a:pt x="2243" y="2309"/>
                    <a:pt x="2295" y="2279"/>
                    <a:pt x="2295" y="2242"/>
                  </a:cubicBezTo>
                  <a:cubicBezTo>
                    <a:pt x="2332" y="2242"/>
                    <a:pt x="2347" y="2309"/>
                    <a:pt x="2392" y="2287"/>
                  </a:cubicBezTo>
                  <a:cubicBezTo>
                    <a:pt x="2399" y="2264"/>
                    <a:pt x="2377" y="2242"/>
                    <a:pt x="2406" y="2227"/>
                  </a:cubicBezTo>
                  <a:cubicBezTo>
                    <a:pt x="2421" y="2220"/>
                    <a:pt x="2451" y="2235"/>
                    <a:pt x="2458" y="2220"/>
                  </a:cubicBezTo>
                  <a:cubicBezTo>
                    <a:pt x="2473" y="2190"/>
                    <a:pt x="2473" y="2138"/>
                    <a:pt x="2473" y="2108"/>
                  </a:cubicBezTo>
                  <a:cubicBezTo>
                    <a:pt x="2473" y="2071"/>
                    <a:pt x="2511" y="2079"/>
                    <a:pt x="2518" y="2049"/>
                  </a:cubicBezTo>
                  <a:cubicBezTo>
                    <a:pt x="2540" y="1997"/>
                    <a:pt x="2481" y="1908"/>
                    <a:pt x="2570" y="1901"/>
                  </a:cubicBezTo>
                  <a:cubicBezTo>
                    <a:pt x="2614" y="1893"/>
                    <a:pt x="2622" y="1819"/>
                    <a:pt x="2637" y="1782"/>
                  </a:cubicBezTo>
                  <a:cubicBezTo>
                    <a:pt x="2674" y="1782"/>
                    <a:pt x="2711" y="1782"/>
                    <a:pt x="2748" y="1782"/>
                  </a:cubicBezTo>
                  <a:cubicBezTo>
                    <a:pt x="2756" y="1767"/>
                    <a:pt x="2741" y="1737"/>
                    <a:pt x="2770" y="1737"/>
                  </a:cubicBezTo>
                  <a:cubicBezTo>
                    <a:pt x="2770" y="1737"/>
                    <a:pt x="2770" y="1693"/>
                    <a:pt x="2778" y="1693"/>
                  </a:cubicBezTo>
                  <a:cubicBezTo>
                    <a:pt x="2822" y="1685"/>
                    <a:pt x="2867" y="1700"/>
                    <a:pt x="2904" y="1730"/>
                  </a:cubicBezTo>
                  <a:cubicBezTo>
                    <a:pt x="2911" y="1737"/>
                    <a:pt x="2948" y="1745"/>
                    <a:pt x="2978" y="1752"/>
                  </a:cubicBezTo>
                  <a:cubicBezTo>
                    <a:pt x="2986" y="1730"/>
                    <a:pt x="3023" y="1715"/>
                    <a:pt x="3038" y="1693"/>
                  </a:cubicBezTo>
                  <a:cubicBezTo>
                    <a:pt x="3008" y="1678"/>
                    <a:pt x="2956" y="1574"/>
                    <a:pt x="2963" y="1544"/>
                  </a:cubicBezTo>
                  <a:cubicBezTo>
                    <a:pt x="2986" y="1544"/>
                    <a:pt x="3008" y="1544"/>
                    <a:pt x="3030" y="1544"/>
                  </a:cubicBezTo>
                  <a:cubicBezTo>
                    <a:pt x="3030" y="1514"/>
                    <a:pt x="3038" y="1477"/>
                    <a:pt x="3075" y="1470"/>
                  </a:cubicBezTo>
                  <a:cubicBezTo>
                    <a:pt x="3105" y="1470"/>
                    <a:pt x="3119" y="1507"/>
                    <a:pt x="3149" y="1500"/>
                  </a:cubicBezTo>
                  <a:cubicBezTo>
                    <a:pt x="3142" y="1418"/>
                    <a:pt x="3142" y="1314"/>
                    <a:pt x="3038" y="1306"/>
                  </a:cubicBezTo>
                  <a:cubicBezTo>
                    <a:pt x="3030" y="1269"/>
                    <a:pt x="2986" y="1269"/>
                    <a:pt x="2971" y="1240"/>
                  </a:cubicBezTo>
                  <a:cubicBezTo>
                    <a:pt x="2956" y="1195"/>
                    <a:pt x="3001" y="1143"/>
                    <a:pt x="3001" y="1099"/>
                  </a:cubicBezTo>
                  <a:cubicBezTo>
                    <a:pt x="3023" y="1106"/>
                    <a:pt x="3045" y="1106"/>
                    <a:pt x="3067" y="1106"/>
                  </a:cubicBezTo>
                  <a:cubicBezTo>
                    <a:pt x="3067" y="1084"/>
                    <a:pt x="3075" y="1061"/>
                    <a:pt x="3090" y="1047"/>
                  </a:cubicBezTo>
                  <a:cubicBezTo>
                    <a:pt x="3097" y="1032"/>
                    <a:pt x="3134" y="1032"/>
                    <a:pt x="3142" y="1017"/>
                  </a:cubicBezTo>
                  <a:cubicBezTo>
                    <a:pt x="3156" y="995"/>
                    <a:pt x="3156" y="972"/>
                    <a:pt x="3186" y="957"/>
                  </a:cubicBezTo>
                  <a:cubicBezTo>
                    <a:pt x="3201" y="950"/>
                    <a:pt x="3223" y="943"/>
                    <a:pt x="3238" y="928"/>
                  </a:cubicBezTo>
                  <a:cubicBezTo>
                    <a:pt x="3283" y="876"/>
                    <a:pt x="3223" y="816"/>
                    <a:pt x="3231" y="757"/>
                  </a:cubicBezTo>
                  <a:cubicBezTo>
                    <a:pt x="3231" y="727"/>
                    <a:pt x="3246" y="683"/>
                    <a:pt x="3208" y="668"/>
                  </a:cubicBezTo>
                  <a:lnTo>
                    <a:pt x="3208" y="668"/>
                  </a:lnTo>
                  <a:cubicBezTo>
                    <a:pt x="3201" y="698"/>
                    <a:pt x="3194" y="705"/>
                    <a:pt x="3142" y="705"/>
                  </a:cubicBezTo>
                  <a:cubicBezTo>
                    <a:pt x="3149" y="698"/>
                    <a:pt x="3142" y="683"/>
                    <a:pt x="3142" y="683"/>
                  </a:cubicBezTo>
                  <a:cubicBezTo>
                    <a:pt x="3127" y="698"/>
                    <a:pt x="3127" y="727"/>
                    <a:pt x="3119" y="749"/>
                  </a:cubicBezTo>
                  <a:cubicBezTo>
                    <a:pt x="3119" y="772"/>
                    <a:pt x="3105" y="802"/>
                    <a:pt x="3097" y="824"/>
                  </a:cubicBezTo>
                  <a:cubicBezTo>
                    <a:pt x="3075" y="831"/>
                    <a:pt x="3030" y="749"/>
                    <a:pt x="3001" y="742"/>
                  </a:cubicBezTo>
                  <a:cubicBezTo>
                    <a:pt x="3001" y="749"/>
                    <a:pt x="2993" y="757"/>
                    <a:pt x="2993" y="764"/>
                  </a:cubicBezTo>
                  <a:cubicBezTo>
                    <a:pt x="2993" y="764"/>
                    <a:pt x="2874" y="787"/>
                    <a:pt x="2867" y="787"/>
                  </a:cubicBezTo>
                  <a:cubicBezTo>
                    <a:pt x="2852" y="794"/>
                    <a:pt x="2845" y="802"/>
                    <a:pt x="2830" y="802"/>
                  </a:cubicBezTo>
                  <a:cubicBezTo>
                    <a:pt x="2785" y="816"/>
                    <a:pt x="2748" y="779"/>
                    <a:pt x="2703" y="787"/>
                  </a:cubicBezTo>
                  <a:cubicBezTo>
                    <a:pt x="2666" y="794"/>
                    <a:pt x="2689" y="839"/>
                    <a:pt x="2659" y="854"/>
                  </a:cubicBezTo>
                  <a:cubicBezTo>
                    <a:pt x="2637" y="861"/>
                    <a:pt x="2614" y="816"/>
                    <a:pt x="2585" y="824"/>
                  </a:cubicBezTo>
                  <a:cubicBezTo>
                    <a:pt x="2585" y="816"/>
                    <a:pt x="2577" y="809"/>
                    <a:pt x="2577" y="802"/>
                  </a:cubicBezTo>
                  <a:cubicBezTo>
                    <a:pt x="2562" y="794"/>
                    <a:pt x="2533" y="802"/>
                    <a:pt x="2511" y="794"/>
                  </a:cubicBezTo>
                  <a:cubicBezTo>
                    <a:pt x="2511" y="757"/>
                    <a:pt x="2503" y="705"/>
                    <a:pt x="2488" y="668"/>
                  </a:cubicBezTo>
                  <a:cubicBezTo>
                    <a:pt x="2466" y="675"/>
                    <a:pt x="2466" y="698"/>
                    <a:pt x="2451" y="712"/>
                  </a:cubicBezTo>
                  <a:cubicBezTo>
                    <a:pt x="2436" y="720"/>
                    <a:pt x="2429" y="712"/>
                    <a:pt x="2421" y="712"/>
                  </a:cubicBezTo>
                  <a:cubicBezTo>
                    <a:pt x="2406" y="720"/>
                    <a:pt x="2406" y="727"/>
                    <a:pt x="2399" y="735"/>
                  </a:cubicBezTo>
                  <a:cubicBezTo>
                    <a:pt x="2362" y="772"/>
                    <a:pt x="2340" y="794"/>
                    <a:pt x="2280" y="779"/>
                  </a:cubicBezTo>
                  <a:cubicBezTo>
                    <a:pt x="2280" y="794"/>
                    <a:pt x="2273" y="794"/>
                    <a:pt x="2265" y="802"/>
                  </a:cubicBezTo>
                  <a:cubicBezTo>
                    <a:pt x="2251" y="802"/>
                    <a:pt x="2228" y="764"/>
                    <a:pt x="2213" y="757"/>
                  </a:cubicBezTo>
                  <a:cubicBezTo>
                    <a:pt x="2191" y="735"/>
                    <a:pt x="2161" y="727"/>
                    <a:pt x="2139" y="712"/>
                  </a:cubicBezTo>
                  <a:cubicBezTo>
                    <a:pt x="2124" y="712"/>
                    <a:pt x="2124" y="705"/>
                    <a:pt x="2102" y="698"/>
                  </a:cubicBezTo>
                  <a:cubicBezTo>
                    <a:pt x="2087" y="690"/>
                    <a:pt x="2072" y="690"/>
                    <a:pt x="2057" y="690"/>
                  </a:cubicBezTo>
                  <a:cubicBezTo>
                    <a:pt x="2035" y="683"/>
                    <a:pt x="1983" y="646"/>
                    <a:pt x="1976" y="668"/>
                  </a:cubicBezTo>
                  <a:cubicBezTo>
                    <a:pt x="1939" y="683"/>
                    <a:pt x="1909" y="675"/>
                    <a:pt x="1879" y="660"/>
                  </a:cubicBezTo>
                  <a:cubicBezTo>
                    <a:pt x="1857" y="646"/>
                    <a:pt x="1842" y="631"/>
                    <a:pt x="1812" y="631"/>
                  </a:cubicBezTo>
                  <a:cubicBezTo>
                    <a:pt x="1790" y="631"/>
                    <a:pt x="1790" y="638"/>
                    <a:pt x="1775" y="653"/>
                  </a:cubicBezTo>
                  <a:cubicBezTo>
                    <a:pt x="1760" y="660"/>
                    <a:pt x="1753" y="668"/>
                    <a:pt x="1738" y="675"/>
                  </a:cubicBezTo>
                  <a:cubicBezTo>
                    <a:pt x="1731" y="683"/>
                    <a:pt x="1701" y="705"/>
                    <a:pt x="1694" y="705"/>
                  </a:cubicBezTo>
                  <a:cubicBezTo>
                    <a:pt x="1679" y="705"/>
                    <a:pt x="1671" y="675"/>
                    <a:pt x="1656" y="668"/>
                  </a:cubicBezTo>
                  <a:cubicBezTo>
                    <a:pt x="1642" y="660"/>
                    <a:pt x="1619" y="653"/>
                    <a:pt x="1604" y="653"/>
                  </a:cubicBezTo>
                  <a:cubicBezTo>
                    <a:pt x="1597" y="594"/>
                    <a:pt x="1604" y="542"/>
                    <a:pt x="1604" y="482"/>
                  </a:cubicBezTo>
                  <a:cubicBezTo>
                    <a:pt x="1575" y="482"/>
                    <a:pt x="1538" y="475"/>
                    <a:pt x="1508" y="490"/>
                  </a:cubicBezTo>
                  <a:cubicBezTo>
                    <a:pt x="1493" y="497"/>
                    <a:pt x="1434" y="534"/>
                    <a:pt x="1426" y="549"/>
                  </a:cubicBezTo>
                  <a:cubicBezTo>
                    <a:pt x="1397" y="564"/>
                    <a:pt x="1404" y="579"/>
                    <a:pt x="1359" y="579"/>
                  </a:cubicBezTo>
                  <a:cubicBezTo>
                    <a:pt x="1337" y="579"/>
                    <a:pt x="1307" y="579"/>
                    <a:pt x="1285" y="557"/>
                  </a:cubicBezTo>
                  <a:cubicBezTo>
                    <a:pt x="1270" y="534"/>
                    <a:pt x="1285" y="504"/>
                    <a:pt x="1255" y="490"/>
                  </a:cubicBezTo>
                  <a:cubicBezTo>
                    <a:pt x="1241" y="482"/>
                    <a:pt x="1196" y="490"/>
                    <a:pt x="1181" y="490"/>
                  </a:cubicBezTo>
                  <a:cubicBezTo>
                    <a:pt x="1166" y="438"/>
                    <a:pt x="1129" y="423"/>
                    <a:pt x="1092" y="401"/>
                  </a:cubicBezTo>
                  <a:cubicBezTo>
                    <a:pt x="1047" y="378"/>
                    <a:pt x="996" y="401"/>
                    <a:pt x="944" y="386"/>
                  </a:cubicBezTo>
                  <a:cubicBezTo>
                    <a:pt x="877" y="371"/>
                    <a:pt x="899" y="326"/>
                    <a:pt x="921" y="282"/>
                  </a:cubicBezTo>
                  <a:cubicBezTo>
                    <a:pt x="929" y="259"/>
                    <a:pt x="929" y="237"/>
                    <a:pt x="929" y="215"/>
                  </a:cubicBezTo>
                  <a:cubicBezTo>
                    <a:pt x="921" y="185"/>
                    <a:pt x="914" y="163"/>
                    <a:pt x="907" y="133"/>
                  </a:cubicBezTo>
                  <a:cubicBezTo>
                    <a:pt x="839" y="118"/>
                    <a:pt x="728" y="148"/>
                    <a:pt x="676" y="81"/>
                  </a:cubicBezTo>
                  <a:cubicBezTo>
                    <a:pt x="669" y="74"/>
                    <a:pt x="669" y="52"/>
                    <a:pt x="654" y="37"/>
                  </a:cubicBezTo>
                  <a:cubicBezTo>
                    <a:pt x="647" y="29"/>
                    <a:pt x="624" y="37"/>
                    <a:pt x="602" y="29"/>
                  </a:cubicBezTo>
                  <a:cubicBezTo>
                    <a:pt x="580" y="22"/>
                    <a:pt x="580" y="0"/>
                    <a:pt x="550" y="7"/>
                  </a:cubicBezTo>
                  <a:cubicBezTo>
                    <a:pt x="535" y="37"/>
                    <a:pt x="550" y="44"/>
                    <a:pt x="513" y="52"/>
                  </a:cubicBezTo>
                  <a:cubicBezTo>
                    <a:pt x="468" y="52"/>
                    <a:pt x="439" y="52"/>
                    <a:pt x="402" y="74"/>
                  </a:cubicBezTo>
                  <a:cubicBezTo>
                    <a:pt x="387" y="74"/>
                    <a:pt x="372" y="89"/>
                    <a:pt x="357" y="96"/>
                  </a:cubicBezTo>
                  <a:cubicBezTo>
                    <a:pt x="349" y="96"/>
                    <a:pt x="342" y="96"/>
                    <a:pt x="327" y="96"/>
                  </a:cubicBezTo>
                  <a:cubicBezTo>
                    <a:pt x="335" y="141"/>
                    <a:pt x="349" y="193"/>
                    <a:pt x="387" y="193"/>
                  </a:cubicBezTo>
                </a:path>
              </a:pathLst>
            </a:custGeom>
            <a:grpFill/>
            <a:ln w="6350" cap="flat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lIns="60927" tIns="30463" rIns="60927" bIns="30463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1" name="Freeform 13"/>
            <p:cNvSpPr>
              <a:spLocks noChangeArrowheads="1"/>
            </p:cNvSpPr>
            <p:nvPr/>
          </p:nvSpPr>
          <p:spPr bwMode="auto">
            <a:xfrm>
              <a:off x="9859191" y="4396311"/>
              <a:ext cx="867397" cy="956359"/>
            </a:xfrm>
            <a:custGeom>
              <a:avLst/>
              <a:gdLst>
                <a:gd name="T0" fmla="*/ 134 w 2006"/>
                <a:gd name="T1" fmla="*/ 1805 h 2214"/>
                <a:gd name="T2" fmla="*/ 379 w 2006"/>
                <a:gd name="T3" fmla="*/ 1790 h 2214"/>
                <a:gd name="T4" fmla="*/ 527 w 2006"/>
                <a:gd name="T5" fmla="*/ 1871 h 2214"/>
                <a:gd name="T6" fmla="*/ 817 w 2006"/>
                <a:gd name="T7" fmla="*/ 1916 h 2214"/>
                <a:gd name="T8" fmla="*/ 876 w 2006"/>
                <a:gd name="T9" fmla="*/ 2020 h 2214"/>
                <a:gd name="T10" fmla="*/ 884 w 2006"/>
                <a:gd name="T11" fmla="*/ 2205 h 2214"/>
                <a:gd name="T12" fmla="*/ 1077 w 2006"/>
                <a:gd name="T13" fmla="*/ 2020 h 2214"/>
                <a:gd name="T14" fmla="*/ 1404 w 2006"/>
                <a:gd name="T15" fmla="*/ 2079 h 2214"/>
                <a:gd name="T16" fmla="*/ 1471 w 2006"/>
                <a:gd name="T17" fmla="*/ 2050 h 2214"/>
                <a:gd name="T18" fmla="*/ 1552 w 2006"/>
                <a:gd name="T19" fmla="*/ 1975 h 2214"/>
                <a:gd name="T20" fmla="*/ 1552 w 2006"/>
                <a:gd name="T21" fmla="*/ 1760 h 2214"/>
                <a:gd name="T22" fmla="*/ 1723 w 2006"/>
                <a:gd name="T23" fmla="*/ 1819 h 2214"/>
                <a:gd name="T24" fmla="*/ 1768 w 2006"/>
                <a:gd name="T25" fmla="*/ 1715 h 2214"/>
                <a:gd name="T26" fmla="*/ 1872 w 2006"/>
                <a:gd name="T27" fmla="*/ 1656 h 2214"/>
                <a:gd name="T28" fmla="*/ 1901 w 2006"/>
                <a:gd name="T29" fmla="*/ 1552 h 2214"/>
                <a:gd name="T30" fmla="*/ 1991 w 2006"/>
                <a:gd name="T31" fmla="*/ 1515 h 2214"/>
                <a:gd name="T32" fmla="*/ 1916 w 2006"/>
                <a:gd name="T33" fmla="*/ 1359 h 2214"/>
                <a:gd name="T34" fmla="*/ 1901 w 2006"/>
                <a:gd name="T35" fmla="*/ 1359 h 2214"/>
                <a:gd name="T36" fmla="*/ 1864 w 2006"/>
                <a:gd name="T37" fmla="*/ 1277 h 2214"/>
                <a:gd name="T38" fmla="*/ 1946 w 2006"/>
                <a:gd name="T39" fmla="*/ 1173 h 2214"/>
                <a:gd name="T40" fmla="*/ 1805 w 2006"/>
                <a:gd name="T41" fmla="*/ 943 h 2214"/>
                <a:gd name="T42" fmla="*/ 1671 w 2006"/>
                <a:gd name="T43" fmla="*/ 817 h 2214"/>
                <a:gd name="T44" fmla="*/ 1515 w 2006"/>
                <a:gd name="T45" fmla="*/ 743 h 2214"/>
                <a:gd name="T46" fmla="*/ 1359 w 2006"/>
                <a:gd name="T47" fmla="*/ 394 h 2214"/>
                <a:gd name="T48" fmla="*/ 1226 w 2006"/>
                <a:gd name="T49" fmla="*/ 304 h 2214"/>
                <a:gd name="T50" fmla="*/ 1337 w 2006"/>
                <a:gd name="T51" fmla="*/ 141 h 2214"/>
                <a:gd name="T52" fmla="*/ 1352 w 2006"/>
                <a:gd name="T53" fmla="*/ 7 h 2214"/>
                <a:gd name="T54" fmla="*/ 1226 w 2006"/>
                <a:gd name="T55" fmla="*/ 67 h 2214"/>
                <a:gd name="T56" fmla="*/ 1107 w 2006"/>
                <a:gd name="T57" fmla="*/ 96 h 2214"/>
                <a:gd name="T58" fmla="*/ 1032 w 2006"/>
                <a:gd name="T59" fmla="*/ 260 h 2214"/>
                <a:gd name="T60" fmla="*/ 773 w 2006"/>
                <a:gd name="T61" fmla="*/ 304 h 2214"/>
                <a:gd name="T62" fmla="*/ 609 w 2006"/>
                <a:gd name="T63" fmla="*/ 446 h 2214"/>
                <a:gd name="T64" fmla="*/ 609 w 2006"/>
                <a:gd name="T65" fmla="*/ 639 h 2214"/>
                <a:gd name="T66" fmla="*/ 602 w 2006"/>
                <a:gd name="T67" fmla="*/ 720 h 2214"/>
                <a:gd name="T68" fmla="*/ 557 w 2006"/>
                <a:gd name="T69" fmla="*/ 928 h 2214"/>
                <a:gd name="T70" fmla="*/ 639 w 2006"/>
                <a:gd name="T71" fmla="*/ 906 h 2214"/>
                <a:gd name="T72" fmla="*/ 579 w 2006"/>
                <a:gd name="T73" fmla="*/ 973 h 2214"/>
                <a:gd name="T74" fmla="*/ 505 w 2006"/>
                <a:gd name="T75" fmla="*/ 1032 h 2214"/>
                <a:gd name="T76" fmla="*/ 349 w 2006"/>
                <a:gd name="T77" fmla="*/ 1188 h 2214"/>
                <a:gd name="T78" fmla="*/ 238 w 2006"/>
                <a:gd name="T79" fmla="*/ 1300 h 2214"/>
                <a:gd name="T80" fmla="*/ 112 w 2006"/>
                <a:gd name="T81" fmla="*/ 1381 h 2214"/>
                <a:gd name="T82" fmla="*/ 119 w 2006"/>
                <a:gd name="T83" fmla="*/ 1485 h 2214"/>
                <a:gd name="T84" fmla="*/ 8 w 2006"/>
                <a:gd name="T85" fmla="*/ 1686 h 2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006" h="2214">
                  <a:moveTo>
                    <a:pt x="52" y="1782"/>
                  </a:moveTo>
                  <a:lnTo>
                    <a:pt x="52" y="1782"/>
                  </a:lnTo>
                  <a:cubicBezTo>
                    <a:pt x="52" y="1812"/>
                    <a:pt x="112" y="1805"/>
                    <a:pt x="134" y="1805"/>
                  </a:cubicBezTo>
                  <a:cubicBezTo>
                    <a:pt x="179" y="1805"/>
                    <a:pt x="208" y="1812"/>
                    <a:pt x="253" y="1827"/>
                  </a:cubicBezTo>
                  <a:cubicBezTo>
                    <a:pt x="290" y="1842"/>
                    <a:pt x="334" y="1834"/>
                    <a:pt x="379" y="1842"/>
                  </a:cubicBezTo>
                  <a:cubicBezTo>
                    <a:pt x="379" y="1819"/>
                    <a:pt x="379" y="1797"/>
                    <a:pt x="379" y="1790"/>
                  </a:cubicBezTo>
                  <a:cubicBezTo>
                    <a:pt x="379" y="1797"/>
                    <a:pt x="379" y="1819"/>
                    <a:pt x="379" y="1842"/>
                  </a:cubicBezTo>
                  <a:cubicBezTo>
                    <a:pt x="379" y="1842"/>
                    <a:pt x="386" y="1842"/>
                    <a:pt x="394" y="1842"/>
                  </a:cubicBezTo>
                  <a:cubicBezTo>
                    <a:pt x="438" y="1849"/>
                    <a:pt x="476" y="1901"/>
                    <a:pt x="527" y="1871"/>
                  </a:cubicBezTo>
                  <a:cubicBezTo>
                    <a:pt x="527" y="1857"/>
                    <a:pt x="542" y="1857"/>
                    <a:pt x="550" y="1842"/>
                  </a:cubicBezTo>
                  <a:cubicBezTo>
                    <a:pt x="602" y="1842"/>
                    <a:pt x="691" y="1842"/>
                    <a:pt x="728" y="1894"/>
                  </a:cubicBezTo>
                  <a:cubicBezTo>
                    <a:pt x="780" y="1983"/>
                    <a:pt x="780" y="1879"/>
                    <a:pt x="817" y="1916"/>
                  </a:cubicBezTo>
                  <a:cubicBezTo>
                    <a:pt x="817" y="1923"/>
                    <a:pt x="802" y="2050"/>
                    <a:pt x="847" y="2005"/>
                  </a:cubicBezTo>
                  <a:cubicBezTo>
                    <a:pt x="854" y="1998"/>
                    <a:pt x="847" y="1983"/>
                    <a:pt x="862" y="1983"/>
                  </a:cubicBezTo>
                  <a:cubicBezTo>
                    <a:pt x="884" y="1983"/>
                    <a:pt x="876" y="2012"/>
                    <a:pt x="876" y="2020"/>
                  </a:cubicBezTo>
                  <a:cubicBezTo>
                    <a:pt x="876" y="2057"/>
                    <a:pt x="832" y="2079"/>
                    <a:pt x="824" y="2116"/>
                  </a:cubicBezTo>
                  <a:cubicBezTo>
                    <a:pt x="824" y="2124"/>
                    <a:pt x="854" y="2139"/>
                    <a:pt x="862" y="2146"/>
                  </a:cubicBezTo>
                  <a:cubicBezTo>
                    <a:pt x="876" y="2161"/>
                    <a:pt x="876" y="2183"/>
                    <a:pt x="884" y="2205"/>
                  </a:cubicBezTo>
                  <a:cubicBezTo>
                    <a:pt x="921" y="2213"/>
                    <a:pt x="929" y="2198"/>
                    <a:pt x="929" y="2161"/>
                  </a:cubicBezTo>
                  <a:cubicBezTo>
                    <a:pt x="929" y="2124"/>
                    <a:pt x="981" y="2102"/>
                    <a:pt x="995" y="2079"/>
                  </a:cubicBezTo>
                  <a:cubicBezTo>
                    <a:pt x="1018" y="2042"/>
                    <a:pt x="1032" y="2005"/>
                    <a:pt x="1077" y="2020"/>
                  </a:cubicBezTo>
                  <a:cubicBezTo>
                    <a:pt x="1114" y="2042"/>
                    <a:pt x="1151" y="2050"/>
                    <a:pt x="1196" y="2050"/>
                  </a:cubicBezTo>
                  <a:cubicBezTo>
                    <a:pt x="1188" y="1990"/>
                    <a:pt x="1329" y="1998"/>
                    <a:pt x="1329" y="2072"/>
                  </a:cubicBezTo>
                  <a:cubicBezTo>
                    <a:pt x="1359" y="2072"/>
                    <a:pt x="1381" y="2072"/>
                    <a:pt x="1404" y="2079"/>
                  </a:cubicBezTo>
                  <a:cubicBezTo>
                    <a:pt x="1441" y="2087"/>
                    <a:pt x="1419" y="2072"/>
                    <a:pt x="1448" y="2057"/>
                  </a:cubicBezTo>
                  <a:cubicBezTo>
                    <a:pt x="1448" y="2050"/>
                    <a:pt x="1456" y="2042"/>
                    <a:pt x="1456" y="2035"/>
                  </a:cubicBezTo>
                  <a:cubicBezTo>
                    <a:pt x="1463" y="2042"/>
                    <a:pt x="1471" y="2042"/>
                    <a:pt x="1471" y="2050"/>
                  </a:cubicBezTo>
                  <a:cubicBezTo>
                    <a:pt x="1486" y="2042"/>
                    <a:pt x="1478" y="2027"/>
                    <a:pt x="1493" y="2020"/>
                  </a:cubicBezTo>
                  <a:cubicBezTo>
                    <a:pt x="1500" y="2012"/>
                    <a:pt x="1523" y="2020"/>
                    <a:pt x="1530" y="2012"/>
                  </a:cubicBezTo>
                  <a:cubicBezTo>
                    <a:pt x="1537" y="1998"/>
                    <a:pt x="1552" y="1990"/>
                    <a:pt x="1552" y="1975"/>
                  </a:cubicBezTo>
                  <a:cubicBezTo>
                    <a:pt x="1515" y="1983"/>
                    <a:pt x="1523" y="1923"/>
                    <a:pt x="1523" y="1901"/>
                  </a:cubicBezTo>
                  <a:cubicBezTo>
                    <a:pt x="1530" y="1886"/>
                    <a:pt x="1537" y="1871"/>
                    <a:pt x="1537" y="1857"/>
                  </a:cubicBezTo>
                  <a:cubicBezTo>
                    <a:pt x="1552" y="1827"/>
                    <a:pt x="1545" y="1790"/>
                    <a:pt x="1552" y="1760"/>
                  </a:cubicBezTo>
                  <a:cubicBezTo>
                    <a:pt x="1575" y="1767"/>
                    <a:pt x="1656" y="1812"/>
                    <a:pt x="1664" y="1775"/>
                  </a:cubicBezTo>
                  <a:cubicBezTo>
                    <a:pt x="1664" y="1730"/>
                    <a:pt x="1701" y="1723"/>
                    <a:pt x="1708" y="1767"/>
                  </a:cubicBezTo>
                  <a:cubicBezTo>
                    <a:pt x="1716" y="1782"/>
                    <a:pt x="1716" y="1805"/>
                    <a:pt x="1723" y="1819"/>
                  </a:cubicBezTo>
                  <a:cubicBezTo>
                    <a:pt x="1745" y="1849"/>
                    <a:pt x="1760" y="1812"/>
                    <a:pt x="1768" y="1805"/>
                  </a:cubicBezTo>
                  <a:cubicBezTo>
                    <a:pt x="1797" y="1782"/>
                    <a:pt x="1812" y="1790"/>
                    <a:pt x="1812" y="1753"/>
                  </a:cubicBezTo>
                  <a:cubicBezTo>
                    <a:pt x="1812" y="1723"/>
                    <a:pt x="1797" y="1715"/>
                    <a:pt x="1768" y="1715"/>
                  </a:cubicBezTo>
                  <a:cubicBezTo>
                    <a:pt x="1768" y="1708"/>
                    <a:pt x="1768" y="1700"/>
                    <a:pt x="1768" y="1700"/>
                  </a:cubicBezTo>
                  <a:cubicBezTo>
                    <a:pt x="1790" y="1700"/>
                    <a:pt x="1797" y="1678"/>
                    <a:pt x="1812" y="1671"/>
                  </a:cubicBezTo>
                  <a:cubicBezTo>
                    <a:pt x="1827" y="1656"/>
                    <a:pt x="1849" y="1656"/>
                    <a:pt x="1872" y="1656"/>
                  </a:cubicBezTo>
                  <a:cubicBezTo>
                    <a:pt x="1872" y="1634"/>
                    <a:pt x="1879" y="1619"/>
                    <a:pt x="1872" y="1597"/>
                  </a:cubicBezTo>
                  <a:cubicBezTo>
                    <a:pt x="1849" y="1597"/>
                    <a:pt x="1849" y="1582"/>
                    <a:pt x="1857" y="1560"/>
                  </a:cubicBezTo>
                  <a:cubicBezTo>
                    <a:pt x="1864" y="1545"/>
                    <a:pt x="1886" y="1545"/>
                    <a:pt x="1901" y="1552"/>
                  </a:cubicBezTo>
                  <a:cubicBezTo>
                    <a:pt x="1901" y="1567"/>
                    <a:pt x="1923" y="1574"/>
                    <a:pt x="1938" y="1574"/>
                  </a:cubicBezTo>
                  <a:cubicBezTo>
                    <a:pt x="1961" y="1582"/>
                    <a:pt x="1961" y="1611"/>
                    <a:pt x="1976" y="1634"/>
                  </a:cubicBezTo>
                  <a:cubicBezTo>
                    <a:pt x="1998" y="1634"/>
                    <a:pt x="1991" y="1530"/>
                    <a:pt x="1991" y="1515"/>
                  </a:cubicBezTo>
                  <a:cubicBezTo>
                    <a:pt x="1991" y="1485"/>
                    <a:pt x="2005" y="1455"/>
                    <a:pt x="1983" y="1433"/>
                  </a:cubicBezTo>
                  <a:cubicBezTo>
                    <a:pt x="1953" y="1418"/>
                    <a:pt x="1938" y="1389"/>
                    <a:pt x="1923" y="1352"/>
                  </a:cubicBezTo>
                  <a:cubicBezTo>
                    <a:pt x="1923" y="1359"/>
                    <a:pt x="1923" y="1359"/>
                    <a:pt x="1916" y="1359"/>
                  </a:cubicBezTo>
                  <a:cubicBezTo>
                    <a:pt x="1916" y="1359"/>
                    <a:pt x="1916" y="1366"/>
                    <a:pt x="1916" y="1359"/>
                  </a:cubicBezTo>
                  <a:cubicBezTo>
                    <a:pt x="1916" y="1366"/>
                    <a:pt x="1916" y="1359"/>
                    <a:pt x="1916" y="1359"/>
                  </a:cubicBezTo>
                  <a:cubicBezTo>
                    <a:pt x="1909" y="1366"/>
                    <a:pt x="1901" y="1366"/>
                    <a:pt x="1901" y="1359"/>
                  </a:cubicBezTo>
                  <a:lnTo>
                    <a:pt x="1879" y="1329"/>
                  </a:lnTo>
                  <a:cubicBezTo>
                    <a:pt x="1872" y="1322"/>
                    <a:pt x="1879" y="1314"/>
                    <a:pt x="1879" y="1300"/>
                  </a:cubicBezTo>
                  <a:cubicBezTo>
                    <a:pt x="1872" y="1292"/>
                    <a:pt x="1857" y="1292"/>
                    <a:pt x="1864" y="1277"/>
                  </a:cubicBezTo>
                  <a:cubicBezTo>
                    <a:pt x="1872" y="1263"/>
                    <a:pt x="1909" y="1173"/>
                    <a:pt x="1931" y="1173"/>
                  </a:cubicBezTo>
                  <a:cubicBezTo>
                    <a:pt x="1931" y="1173"/>
                    <a:pt x="1946" y="1181"/>
                    <a:pt x="1953" y="1188"/>
                  </a:cubicBezTo>
                  <a:cubicBezTo>
                    <a:pt x="1953" y="1188"/>
                    <a:pt x="1946" y="1181"/>
                    <a:pt x="1946" y="1173"/>
                  </a:cubicBezTo>
                  <a:cubicBezTo>
                    <a:pt x="1894" y="1136"/>
                    <a:pt x="1834" y="1151"/>
                    <a:pt x="1797" y="1092"/>
                  </a:cubicBezTo>
                  <a:cubicBezTo>
                    <a:pt x="1783" y="1069"/>
                    <a:pt x="1790" y="1055"/>
                    <a:pt x="1805" y="1025"/>
                  </a:cubicBezTo>
                  <a:cubicBezTo>
                    <a:pt x="1812" y="1010"/>
                    <a:pt x="1797" y="965"/>
                    <a:pt x="1805" y="943"/>
                  </a:cubicBezTo>
                  <a:cubicBezTo>
                    <a:pt x="1797" y="943"/>
                    <a:pt x="1790" y="943"/>
                    <a:pt x="1790" y="943"/>
                  </a:cubicBezTo>
                  <a:cubicBezTo>
                    <a:pt x="1790" y="891"/>
                    <a:pt x="1768" y="913"/>
                    <a:pt x="1731" y="906"/>
                  </a:cubicBezTo>
                  <a:cubicBezTo>
                    <a:pt x="1701" y="898"/>
                    <a:pt x="1686" y="847"/>
                    <a:pt x="1671" y="817"/>
                  </a:cubicBezTo>
                  <a:cubicBezTo>
                    <a:pt x="1649" y="780"/>
                    <a:pt x="1634" y="787"/>
                    <a:pt x="1626" y="824"/>
                  </a:cubicBezTo>
                  <a:cubicBezTo>
                    <a:pt x="1612" y="876"/>
                    <a:pt x="1560" y="861"/>
                    <a:pt x="1523" y="854"/>
                  </a:cubicBezTo>
                  <a:cubicBezTo>
                    <a:pt x="1523" y="817"/>
                    <a:pt x="1530" y="780"/>
                    <a:pt x="1515" y="743"/>
                  </a:cubicBezTo>
                  <a:cubicBezTo>
                    <a:pt x="1508" y="713"/>
                    <a:pt x="1486" y="683"/>
                    <a:pt x="1463" y="661"/>
                  </a:cubicBezTo>
                  <a:cubicBezTo>
                    <a:pt x="1448" y="639"/>
                    <a:pt x="1329" y="490"/>
                    <a:pt x="1426" y="512"/>
                  </a:cubicBezTo>
                  <a:cubicBezTo>
                    <a:pt x="1433" y="490"/>
                    <a:pt x="1374" y="408"/>
                    <a:pt x="1359" y="394"/>
                  </a:cubicBezTo>
                  <a:cubicBezTo>
                    <a:pt x="1337" y="364"/>
                    <a:pt x="1292" y="356"/>
                    <a:pt x="1263" y="342"/>
                  </a:cubicBezTo>
                  <a:cubicBezTo>
                    <a:pt x="1240" y="327"/>
                    <a:pt x="1203" y="342"/>
                    <a:pt x="1181" y="319"/>
                  </a:cubicBezTo>
                  <a:cubicBezTo>
                    <a:pt x="1188" y="304"/>
                    <a:pt x="1211" y="312"/>
                    <a:pt x="1226" y="304"/>
                  </a:cubicBezTo>
                  <a:cubicBezTo>
                    <a:pt x="1248" y="290"/>
                    <a:pt x="1233" y="260"/>
                    <a:pt x="1233" y="238"/>
                  </a:cubicBezTo>
                  <a:cubicBezTo>
                    <a:pt x="1226" y="186"/>
                    <a:pt x="1278" y="201"/>
                    <a:pt x="1315" y="201"/>
                  </a:cubicBezTo>
                  <a:cubicBezTo>
                    <a:pt x="1307" y="201"/>
                    <a:pt x="1337" y="141"/>
                    <a:pt x="1337" y="141"/>
                  </a:cubicBezTo>
                  <a:cubicBezTo>
                    <a:pt x="1352" y="119"/>
                    <a:pt x="1381" y="111"/>
                    <a:pt x="1411" y="111"/>
                  </a:cubicBezTo>
                  <a:cubicBezTo>
                    <a:pt x="1411" y="82"/>
                    <a:pt x="1381" y="59"/>
                    <a:pt x="1367" y="37"/>
                  </a:cubicBezTo>
                  <a:cubicBezTo>
                    <a:pt x="1367" y="37"/>
                    <a:pt x="1359" y="22"/>
                    <a:pt x="1352" y="7"/>
                  </a:cubicBezTo>
                  <a:cubicBezTo>
                    <a:pt x="1344" y="7"/>
                    <a:pt x="1337" y="0"/>
                    <a:pt x="1329" y="30"/>
                  </a:cubicBezTo>
                  <a:cubicBezTo>
                    <a:pt x="1322" y="52"/>
                    <a:pt x="1322" y="59"/>
                    <a:pt x="1292" y="67"/>
                  </a:cubicBezTo>
                  <a:cubicBezTo>
                    <a:pt x="1270" y="67"/>
                    <a:pt x="1248" y="59"/>
                    <a:pt x="1226" y="67"/>
                  </a:cubicBezTo>
                  <a:cubicBezTo>
                    <a:pt x="1226" y="89"/>
                    <a:pt x="1188" y="82"/>
                    <a:pt x="1188" y="119"/>
                  </a:cubicBezTo>
                  <a:cubicBezTo>
                    <a:pt x="1159" y="119"/>
                    <a:pt x="1144" y="111"/>
                    <a:pt x="1114" y="96"/>
                  </a:cubicBezTo>
                  <a:lnTo>
                    <a:pt x="1107" y="96"/>
                  </a:lnTo>
                  <a:cubicBezTo>
                    <a:pt x="1107" y="126"/>
                    <a:pt x="1092" y="156"/>
                    <a:pt x="1092" y="178"/>
                  </a:cubicBezTo>
                  <a:cubicBezTo>
                    <a:pt x="1092" y="201"/>
                    <a:pt x="1084" y="208"/>
                    <a:pt x="1070" y="223"/>
                  </a:cubicBezTo>
                  <a:cubicBezTo>
                    <a:pt x="1055" y="238"/>
                    <a:pt x="1040" y="238"/>
                    <a:pt x="1032" y="260"/>
                  </a:cubicBezTo>
                  <a:cubicBezTo>
                    <a:pt x="981" y="260"/>
                    <a:pt x="936" y="260"/>
                    <a:pt x="884" y="260"/>
                  </a:cubicBezTo>
                  <a:cubicBezTo>
                    <a:pt x="862" y="260"/>
                    <a:pt x="824" y="253"/>
                    <a:pt x="810" y="260"/>
                  </a:cubicBezTo>
                  <a:cubicBezTo>
                    <a:pt x="787" y="275"/>
                    <a:pt x="795" y="304"/>
                    <a:pt x="773" y="304"/>
                  </a:cubicBezTo>
                  <a:cubicBezTo>
                    <a:pt x="765" y="364"/>
                    <a:pt x="721" y="342"/>
                    <a:pt x="684" y="356"/>
                  </a:cubicBezTo>
                  <a:cubicBezTo>
                    <a:pt x="661" y="364"/>
                    <a:pt x="646" y="379"/>
                    <a:pt x="631" y="394"/>
                  </a:cubicBezTo>
                  <a:cubicBezTo>
                    <a:pt x="609" y="416"/>
                    <a:pt x="617" y="416"/>
                    <a:pt x="609" y="446"/>
                  </a:cubicBezTo>
                  <a:cubicBezTo>
                    <a:pt x="594" y="475"/>
                    <a:pt x="587" y="446"/>
                    <a:pt x="565" y="461"/>
                  </a:cubicBezTo>
                  <a:cubicBezTo>
                    <a:pt x="550" y="475"/>
                    <a:pt x="579" y="527"/>
                    <a:pt x="587" y="542"/>
                  </a:cubicBezTo>
                  <a:cubicBezTo>
                    <a:pt x="609" y="572"/>
                    <a:pt x="617" y="601"/>
                    <a:pt x="609" y="639"/>
                  </a:cubicBezTo>
                  <a:cubicBezTo>
                    <a:pt x="602" y="639"/>
                    <a:pt x="594" y="646"/>
                    <a:pt x="587" y="653"/>
                  </a:cubicBezTo>
                  <a:cubicBezTo>
                    <a:pt x="624" y="653"/>
                    <a:pt x="631" y="661"/>
                    <a:pt x="631" y="698"/>
                  </a:cubicBezTo>
                  <a:cubicBezTo>
                    <a:pt x="631" y="706"/>
                    <a:pt x="602" y="713"/>
                    <a:pt x="602" y="720"/>
                  </a:cubicBezTo>
                  <a:cubicBezTo>
                    <a:pt x="587" y="728"/>
                    <a:pt x="572" y="743"/>
                    <a:pt x="565" y="758"/>
                  </a:cubicBezTo>
                  <a:cubicBezTo>
                    <a:pt x="557" y="780"/>
                    <a:pt x="520" y="913"/>
                    <a:pt x="557" y="913"/>
                  </a:cubicBezTo>
                  <a:cubicBezTo>
                    <a:pt x="557" y="921"/>
                    <a:pt x="557" y="921"/>
                    <a:pt x="557" y="928"/>
                  </a:cubicBezTo>
                  <a:cubicBezTo>
                    <a:pt x="565" y="928"/>
                    <a:pt x="579" y="928"/>
                    <a:pt x="587" y="928"/>
                  </a:cubicBezTo>
                  <a:cubicBezTo>
                    <a:pt x="587" y="921"/>
                    <a:pt x="594" y="913"/>
                    <a:pt x="587" y="906"/>
                  </a:cubicBezTo>
                  <a:cubicBezTo>
                    <a:pt x="609" y="906"/>
                    <a:pt x="624" y="906"/>
                    <a:pt x="639" y="906"/>
                  </a:cubicBezTo>
                  <a:cubicBezTo>
                    <a:pt x="646" y="921"/>
                    <a:pt x="646" y="936"/>
                    <a:pt x="639" y="943"/>
                  </a:cubicBezTo>
                  <a:cubicBezTo>
                    <a:pt x="631" y="958"/>
                    <a:pt x="609" y="943"/>
                    <a:pt x="602" y="951"/>
                  </a:cubicBezTo>
                  <a:cubicBezTo>
                    <a:pt x="587" y="951"/>
                    <a:pt x="594" y="958"/>
                    <a:pt x="579" y="973"/>
                  </a:cubicBezTo>
                  <a:cubicBezTo>
                    <a:pt x="565" y="988"/>
                    <a:pt x="565" y="980"/>
                    <a:pt x="550" y="988"/>
                  </a:cubicBezTo>
                  <a:cubicBezTo>
                    <a:pt x="535" y="995"/>
                    <a:pt x="535" y="988"/>
                    <a:pt x="527" y="1003"/>
                  </a:cubicBezTo>
                  <a:cubicBezTo>
                    <a:pt x="520" y="1017"/>
                    <a:pt x="513" y="1025"/>
                    <a:pt x="505" y="1032"/>
                  </a:cubicBezTo>
                  <a:cubicBezTo>
                    <a:pt x="483" y="1055"/>
                    <a:pt x="468" y="1069"/>
                    <a:pt x="446" y="1092"/>
                  </a:cubicBezTo>
                  <a:cubicBezTo>
                    <a:pt x="431" y="1114"/>
                    <a:pt x="409" y="1114"/>
                    <a:pt x="386" y="1129"/>
                  </a:cubicBezTo>
                  <a:cubicBezTo>
                    <a:pt x="349" y="1136"/>
                    <a:pt x="364" y="1158"/>
                    <a:pt x="349" y="1188"/>
                  </a:cubicBezTo>
                  <a:cubicBezTo>
                    <a:pt x="342" y="1203"/>
                    <a:pt x="312" y="1210"/>
                    <a:pt x="297" y="1225"/>
                  </a:cubicBezTo>
                  <a:cubicBezTo>
                    <a:pt x="282" y="1255"/>
                    <a:pt x="275" y="1263"/>
                    <a:pt x="245" y="1263"/>
                  </a:cubicBezTo>
                  <a:cubicBezTo>
                    <a:pt x="245" y="1270"/>
                    <a:pt x="245" y="1285"/>
                    <a:pt x="238" y="1300"/>
                  </a:cubicBezTo>
                  <a:cubicBezTo>
                    <a:pt x="216" y="1307"/>
                    <a:pt x="208" y="1337"/>
                    <a:pt x="186" y="1344"/>
                  </a:cubicBezTo>
                  <a:cubicBezTo>
                    <a:pt x="186" y="1344"/>
                    <a:pt x="186" y="1344"/>
                    <a:pt x="186" y="1352"/>
                  </a:cubicBezTo>
                  <a:cubicBezTo>
                    <a:pt x="164" y="1352"/>
                    <a:pt x="112" y="1344"/>
                    <a:pt x="112" y="1381"/>
                  </a:cubicBezTo>
                  <a:cubicBezTo>
                    <a:pt x="134" y="1381"/>
                    <a:pt x="141" y="1389"/>
                    <a:pt x="141" y="1411"/>
                  </a:cubicBezTo>
                  <a:cubicBezTo>
                    <a:pt x="141" y="1411"/>
                    <a:pt x="97" y="1418"/>
                    <a:pt x="89" y="1418"/>
                  </a:cubicBezTo>
                  <a:cubicBezTo>
                    <a:pt x="67" y="1448"/>
                    <a:pt x="89" y="1470"/>
                    <a:pt x="119" y="1485"/>
                  </a:cubicBezTo>
                  <a:cubicBezTo>
                    <a:pt x="119" y="1522"/>
                    <a:pt x="112" y="1560"/>
                    <a:pt x="104" y="1597"/>
                  </a:cubicBezTo>
                  <a:cubicBezTo>
                    <a:pt x="97" y="1626"/>
                    <a:pt x="104" y="1626"/>
                    <a:pt x="74" y="1641"/>
                  </a:cubicBezTo>
                  <a:cubicBezTo>
                    <a:pt x="45" y="1656"/>
                    <a:pt x="30" y="1663"/>
                    <a:pt x="8" y="1686"/>
                  </a:cubicBezTo>
                  <a:cubicBezTo>
                    <a:pt x="8" y="1693"/>
                    <a:pt x="0" y="1700"/>
                    <a:pt x="0" y="1708"/>
                  </a:cubicBezTo>
                  <a:cubicBezTo>
                    <a:pt x="30" y="1723"/>
                    <a:pt x="60" y="1745"/>
                    <a:pt x="52" y="1782"/>
                  </a:cubicBezTo>
                </a:path>
              </a:pathLst>
            </a:custGeom>
            <a:grpFill/>
            <a:ln w="6350" cap="flat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lIns="60927" tIns="30463" rIns="60927" bIns="30463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2" name="Freeform 14"/>
            <p:cNvSpPr>
              <a:spLocks noChangeArrowheads="1"/>
            </p:cNvSpPr>
            <p:nvPr/>
          </p:nvSpPr>
          <p:spPr bwMode="auto">
            <a:xfrm>
              <a:off x="11531073" y="7162513"/>
              <a:ext cx="1256294" cy="2027024"/>
            </a:xfrm>
            <a:custGeom>
              <a:avLst/>
              <a:gdLst>
                <a:gd name="T0" fmla="*/ 2903 w 2904"/>
                <a:gd name="T1" fmla="*/ 839 h 4694"/>
                <a:gd name="T2" fmla="*/ 2673 w 2904"/>
                <a:gd name="T3" fmla="*/ 609 h 4694"/>
                <a:gd name="T4" fmla="*/ 2546 w 2904"/>
                <a:gd name="T5" fmla="*/ 305 h 4694"/>
                <a:gd name="T6" fmla="*/ 2361 w 2904"/>
                <a:gd name="T7" fmla="*/ 60 h 4694"/>
                <a:gd name="T8" fmla="*/ 2212 w 2904"/>
                <a:gd name="T9" fmla="*/ 45 h 4694"/>
                <a:gd name="T10" fmla="*/ 1960 w 2904"/>
                <a:gd name="T11" fmla="*/ 141 h 4694"/>
                <a:gd name="T12" fmla="*/ 1767 w 2904"/>
                <a:gd name="T13" fmla="*/ 178 h 4694"/>
                <a:gd name="T14" fmla="*/ 1671 w 2904"/>
                <a:gd name="T15" fmla="*/ 297 h 4694"/>
                <a:gd name="T16" fmla="*/ 1463 w 2904"/>
                <a:gd name="T17" fmla="*/ 245 h 4694"/>
                <a:gd name="T18" fmla="*/ 1099 w 2904"/>
                <a:gd name="T19" fmla="*/ 305 h 4694"/>
                <a:gd name="T20" fmla="*/ 1248 w 2904"/>
                <a:gd name="T21" fmla="*/ 438 h 4694"/>
                <a:gd name="T22" fmla="*/ 1270 w 2904"/>
                <a:gd name="T23" fmla="*/ 772 h 4694"/>
                <a:gd name="T24" fmla="*/ 1166 w 2904"/>
                <a:gd name="T25" fmla="*/ 943 h 4694"/>
                <a:gd name="T26" fmla="*/ 1040 w 2904"/>
                <a:gd name="T27" fmla="*/ 1113 h 4694"/>
                <a:gd name="T28" fmla="*/ 832 w 2904"/>
                <a:gd name="T29" fmla="*/ 1180 h 4694"/>
                <a:gd name="T30" fmla="*/ 654 w 2904"/>
                <a:gd name="T31" fmla="*/ 1321 h 4694"/>
                <a:gd name="T32" fmla="*/ 542 w 2904"/>
                <a:gd name="T33" fmla="*/ 1447 h 4694"/>
                <a:gd name="T34" fmla="*/ 505 w 2904"/>
                <a:gd name="T35" fmla="*/ 1648 h 4694"/>
                <a:gd name="T36" fmla="*/ 357 w 2904"/>
                <a:gd name="T37" fmla="*/ 2101 h 4694"/>
                <a:gd name="T38" fmla="*/ 193 w 2904"/>
                <a:gd name="T39" fmla="*/ 2145 h 4694"/>
                <a:gd name="T40" fmla="*/ 282 w 2904"/>
                <a:gd name="T41" fmla="*/ 2338 h 4694"/>
                <a:gd name="T42" fmla="*/ 305 w 2904"/>
                <a:gd name="T43" fmla="*/ 2650 h 4694"/>
                <a:gd name="T44" fmla="*/ 163 w 2904"/>
                <a:gd name="T45" fmla="*/ 2836 h 4694"/>
                <a:gd name="T46" fmla="*/ 253 w 2904"/>
                <a:gd name="T47" fmla="*/ 2962 h 4694"/>
                <a:gd name="T48" fmla="*/ 178 w 2904"/>
                <a:gd name="T49" fmla="*/ 3155 h 4694"/>
                <a:gd name="T50" fmla="*/ 379 w 2904"/>
                <a:gd name="T51" fmla="*/ 3281 h 4694"/>
                <a:gd name="T52" fmla="*/ 468 w 2904"/>
                <a:gd name="T53" fmla="*/ 3430 h 4694"/>
                <a:gd name="T54" fmla="*/ 446 w 2904"/>
                <a:gd name="T55" fmla="*/ 3497 h 4694"/>
                <a:gd name="T56" fmla="*/ 260 w 2904"/>
                <a:gd name="T57" fmla="*/ 3452 h 4694"/>
                <a:gd name="T58" fmla="*/ 67 w 2904"/>
                <a:gd name="T59" fmla="*/ 3638 h 4694"/>
                <a:gd name="T60" fmla="*/ 15 w 2904"/>
                <a:gd name="T61" fmla="*/ 3905 h 4694"/>
                <a:gd name="T62" fmla="*/ 74 w 2904"/>
                <a:gd name="T63" fmla="*/ 3994 h 4694"/>
                <a:gd name="T64" fmla="*/ 364 w 2904"/>
                <a:gd name="T65" fmla="*/ 4269 h 4694"/>
                <a:gd name="T66" fmla="*/ 453 w 2904"/>
                <a:gd name="T67" fmla="*/ 4381 h 4694"/>
                <a:gd name="T68" fmla="*/ 513 w 2904"/>
                <a:gd name="T69" fmla="*/ 4462 h 4694"/>
                <a:gd name="T70" fmla="*/ 743 w 2904"/>
                <a:gd name="T71" fmla="*/ 4626 h 4694"/>
                <a:gd name="T72" fmla="*/ 817 w 2904"/>
                <a:gd name="T73" fmla="*/ 4470 h 4694"/>
                <a:gd name="T74" fmla="*/ 965 w 2904"/>
                <a:gd name="T75" fmla="*/ 4239 h 4694"/>
                <a:gd name="T76" fmla="*/ 1181 w 2904"/>
                <a:gd name="T77" fmla="*/ 4083 h 4694"/>
                <a:gd name="T78" fmla="*/ 1300 w 2904"/>
                <a:gd name="T79" fmla="*/ 3928 h 4694"/>
                <a:gd name="T80" fmla="*/ 1352 w 2904"/>
                <a:gd name="T81" fmla="*/ 3549 h 4694"/>
                <a:gd name="T82" fmla="*/ 1248 w 2904"/>
                <a:gd name="T83" fmla="*/ 3363 h 4694"/>
                <a:gd name="T84" fmla="*/ 1159 w 2904"/>
                <a:gd name="T85" fmla="*/ 3103 h 4694"/>
                <a:gd name="T86" fmla="*/ 1456 w 2904"/>
                <a:gd name="T87" fmla="*/ 3029 h 4694"/>
                <a:gd name="T88" fmla="*/ 1664 w 2904"/>
                <a:gd name="T89" fmla="*/ 3163 h 4694"/>
                <a:gd name="T90" fmla="*/ 1627 w 2904"/>
                <a:gd name="T91" fmla="*/ 3014 h 4694"/>
                <a:gd name="T92" fmla="*/ 1545 w 2904"/>
                <a:gd name="T93" fmla="*/ 2658 h 4694"/>
                <a:gd name="T94" fmla="*/ 1515 w 2904"/>
                <a:gd name="T95" fmla="*/ 2316 h 4694"/>
                <a:gd name="T96" fmla="*/ 1649 w 2904"/>
                <a:gd name="T97" fmla="*/ 2316 h 4694"/>
                <a:gd name="T98" fmla="*/ 2019 w 2904"/>
                <a:gd name="T99" fmla="*/ 2153 h 4694"/>
                <a:gd name="T100" fmla="*/ 2131 w 2904"/>
                <a:gd name="T101" fmla="*/ 2027 h 4694"/>
                <a:gd name="T102" fmla="*/ 2249 w 2904"/>
                <a:gd name="T103" fmla="*/ 1811 h 4694"/>
                <a:gd name="T104" fmla="*/ 2413 w 2904"/>
                <a:gd name="T105" fmla="*/ 1611 h 4694"/>
                <a:gd name="T106" fmla="*/ 2472 w 2904"/>
                <a:gd name="T107" fmla="*/ 1373 h 4694"/>
                <a:gd name="T108" fmla="*/ 2687 w 2904"/>
                <a:gd name="T109" fmla="*/ 1143 h 4694"/>
                <a:gd name="T110" fmla="*/ 2881 w 2904"/>
                <a:gd name="T111" fmla="*/ 958 h 4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904" h="4694">
                  <a:moveTo>
                    <a:pt x="2881" y="958"/>
                  </a:moveTo>
                  <a:lnTo>
                    <a:pt x="2881" y="958"/>
                  </a:lnTo>
                  <a:cubicBezTo>
                    <a:pt x="2881" y="921"/>
                    <a:pt x="2895" y="884"/>
                    <a:pt x="2903" y="839"/>
                  </a:cubicBezTo>
                  <a:cubicBezTo>
                    <a:pt x="2858" y="839"/>
                    <a:pt x="2806" y="854"/>
                    <a:pt x="2776" y="802"/>
                  </a:cubicBezTo>
                  <a:cubicBezTo>
                    <a:pt x="2762" y="780"/>
                    <a:pt x="2747" y="743"/>
                    <a:pt x="2717" y="743"/>
                  </a:cubicBezTo>
                  <a:cubicBezTo>
                    <a:pt x="2710" y="706"/>
                    <a:pt x="2725" y="594"/>
                    <a:pt x="2673" y="609"/>
                  </a:cubicBezTo>
                  <a:cubicBezTo>
                    <a:pt x="2658" y="535"/>
                    <a:pt x="2725" y="431"/>
                    <a:pt x="2658" y="379"/>
                  </a:cubicBezTo>
                  <a:cubicBezTo>
                    <a:pt x="2643" y="364"/>
                    <a:pt x="2598" y="386"/>
                    <a:pt x="2569" y="371"/>
                  </a:cubicBezTo>
                  <a:cubicBezTo>
                    <a:pt x="2546" y="364"/>
                    <a:pt x="2546" y="327"/>
                    <a:pt x="2546" y="305"/>
                  </a:cubicBezTo>
                  <a:cubicBezTo>
                    <a:pt x="2509" y="312"/>
                    <a:pt x="2502" y="275"/>
                    <a:pt x="2494" y="245"/>
                  </a:cubicBezTo>
                  <a:cubicBezTo>
                    <a:pt x="2487" y="216"/>
                    <a:pt x="2472" y="201"/>
                    <a:pt x="2442" y="186"/>
                  </a:cubicBezTo>
                  <a:cubicBezTo>
                    <a:pt x="2390" y="149"/>
                    <a:pt x="2368" y="134"/>
                    <a:pt x="2361" y="60"/>
                  </a:cubicBezTo>
                  <a:cubicBezTo>
                    <a:pt x="2361" y="15"/>
                    <a:pt x="2309" y="0"/>
                    <a:pt x="2257" y="0"/>
                  </a:cubicBezTo>
                  <a:cubicBezTo>
                    <a:pt x="2257" y="8"/>
                    <a:pt x="2264" y="15"/>
                    <a:pt x="2264" y="30"/>
                  </a:cubicBezTo>
                  <a:cubicBezTo>
                    <a:pt x="2242" y="30"/>
                    <a:pt x="2212" y="22"/>
                    <a:pt x="2212" y="45"/>
                  </a:cubicBezTo>
                  <a:cubicBezTo>
                    <a:pt x="2212" y="74"/>
                    <a:pt x="2197" y="52"/>
                    <a:pt x="2182" y="67"/>
                  </a:cubicBezTo>
                  <a:cubicBezTo>
                    <a:pt x="2153" y="97"/>
                    <a:pt x="2190" y="156"/>
                    <a:pt x="2145" y="186"/>
                  </a:cubicBezTo>
                  <a:cubicBezTo>
                    <a:pt x="2101" y="201"/>
                    <a:pt x="1960" y="201"/>
                    <a:pt x="1960" y="141"/>
                  </a:cubicBezTo>
                  <a:cubicBezTo>
                    <a:pt x="1930" y="134"/>
                    <a:pt x="1893" y="134"/>
                    <a:pt x="1878" y="112"/>
                  </a:cubicBezTo>
                  <a:cubicBezTo>
                    <a:pt x="1863" y="134"/>
                    <a:pt x="1848" y="149"/>
                    <a:pt x="1834" y="156"/>
                  </a:cubicBezTo>
                  <a:cubicBezTo>
                    <a:pt x="1811" y="156"/>
                    <a:pt x="1774" y="149"/>
                    <a:pt x="1767" y="178"/>
                  </a:cubicBezTo>
                  <a:cubicBezTo>
                    <a:pt x="1767" y="193"/>
                    <a:pt x="1774" y="223"/>
                    <a:pt x="1752" y="230"/>
                  </a:cubicBezTo>
                  <a:cubicBezTo>
                    <a:pt x="1737" y="238"/>
                    <a:pt x="1715" y="223"/>
                    <a:pt x="1700" y="230"/>
                  </a:cubicBezTo>
                  <a:cubicBezTo>
                    <a:pt x="1678" y="245"/>
                    <a:pt x="1692" y="282"/>
                    <a:pt x="1671" y="297"/>
                  </a:cubicBezTo>
                  <a:cubicBezTo>
                    <a:pt x="1649" y="305"/>
                    <a:pt x="1656" y="260"/>
                    <a:pt x="1634" y="253"/>
                  </a:cubicBezTo>
                  <a:cubicBezTo>
                    <a:pt x="1612" y="245"/>
                    <a:pt x="1589" y="260"/>
                    <a:pt x="1567" y="253"/>
                  </a:cubicBezTo>
                  <a:cubicBezTo>
                    <a:pt x="1560" y="216"/>
                    <a:pt x="1493" y="245"/>
                    <a:pt x="1463" y="245"/>
                  </a:cubicBezTo>
                  <a:cubicBezTo>
                    <a:pt x="1470" y="171"/>
                    <a:pt x="1196" y="208"/>
                    <a:pt x="1159" y="201"/>
                  </a:cubicBezTo>
                  <a:cubicBezTo>
                    <a:pt x="1166" y="104"/>
                    <a:pt x="1010" y="171"/>
                    <a:pt x="1062" y="208"/>
                  </a:cubicBezTo>
                  <a:cubicBezTo>
                    <a:pt x="1107" y="238"/>
                    <a:pt x="1159" y="253"/>
                    <a:pt x="1099" y="305"/>
                  </a:cubicBezTo>
                  <a:cubicBezTo>
                    <a:pt x="1047" y="349"/>
                    <a:pt x="1003" y="379"/>
                    <a:pt x="1070" y="438"/>
                  </a:cubicBezTo>
                  <a:cubicBezTo>
                    <a:pt x="1099" y="461"/>
                    <a:pt x="1136" y="409"/>
                    <a:pt x="1173" y="424"/>
                  </a:cubicBezTo>
                  <a:cubicBezTo>
                    <a:pt x="1203" y="438"/>
                    <a:pt x="1225" y="490"/>
                    <a:pt x="1248" y="438"/>
                  </a:cubicBezTo>
                  <a:cubicBezTo>
                    <a:pt x="1270" y="446"/>
                    <a:pt x="1292" y="476"/>
                    <a:pt x="1292" y="498"/>
                  </a:cubicBezTo>
                  <a:cubicBezTo>
                    <a:pt x="1352" y="498"/>
                    <a:pt x="1411" y="609"/>
                    <a:pt x="1419" y="654"/>
                  </a:cubicBezTo>
                  <a:cubicBezTo>
                    <a:pt x="1426" y="765"/>
                    <a:pt x="1359" y="765"/>
                    <a:pt x="1270" y="772"/>
                  </a:cubicBezTo>
                  <a:cubicBezTo>
                    <a:pt x="1278" y="802"/>
                    <a:pt x="1255" y="802"/>
                    <a:pt x="1240" y="817"/>
                  </a:cubicBezTo>
                  <a:cubicBezTo>
                    <a:pt x="1218" y="839"/>
                    <a:pt x="1218" y="861"/>
                    <a:pt x="1218" y="891"/>
                  </a:cubicBezTo>
                  <a:cubicBezTo>
                    <a:pt x="1211" y="914"/>
                    <a:pt x="1188" y="929"/>
                    <a:pt x="1166" y="943"/>
                  </a:cubicBezTo>
                  <a:cubicBezTo>
                    <a:pt x="1144" y="966"/>
                    <a:pt x="1151" y="987"/>
                    <a:pt x="1144" y="1009"/>
                  </a:cubicBezTo>
                  <a:cubicBezTo>
                    <a:pt x="1144" y="1046"/>
                    <a:pt x="1107" y="1046"/>
                    <a:pt x="1084" y="1061"/>
                  </a:cubicBezTo>
                  <a:cubicBezTo>
                    <a:pt x="1055" y="1076"/>
                    <a:pt x="1062" y="1083"/>
                    <a:pt x="1040" y="1113"/>
                  </a:cubicBezTo>
                  <a:cubicBezTo>
                    <a:pt x="1018" y="1143"/>
                    <a:pt x="936" y="1128"/>
                    <a:pt x="936" y="1180"/>
                  </a:cubicBezTo>
                  <a:cubicBezTo>
                    <a:pt x="914" y="1187"/>
                    <a:pt x="899" y="1165"/>
                    <a:pt x="876" y="1165"/>
                  </a:cubicBezTo>
                  <a:cubicBezTo>
                    <a:pt x="854" y="1158"/>
                    <a:pt x="847" y="1173"/>
                    <a:pt x="832" y="1180"/>
                  </a:cubicBezTo>
                  <a:cubicBezTo>
                    <a:pt x="787" y="1187"/>
                    <a:pt x="750" y="1187"/>
                    <a:pt x="706" y="1187"/>
                  </a:cubicBezTo>
                  <a:cubicBezTo>
                    <a:pt x="706" y="1232"/>
                    <a:pt x="706" y="1276"/>
                    <a:pt x="706" y="1321"/>
                  </a:cubicBezTo>
                  <a:cubicBezTo>
                    <a:pt x="683" y="1321"/>
                    <a:pt x="668" y="1321"/>
                    <a:pt x="654" y="1321"/>
                  </a:cubicBezTo>
                  <a:cubicBezTo>
                    <a:pt x="646" y="1336"/>
                    <a:pt x="594" y="1395"/>
                    <a:pt x="631" y="1410"/>
                  </a:cubicBezTo>
                  <a:cubicBezTo>
                    <a:pt x="631" y="1425"/>
                    <a:pt x="631" y="1447"/>
                    <a:pt x="631" y="1462"/>
                  </a:cubicBezTo>
                  <a:cubicBezTo>
                    <a:pt x="602" y="1470"/>
                    <a:pt x="579" y="1440"/>
                    <a:pt x="542" y="1447"/>
                  </a:cubicBezTo>
                  <a:cubicBezTo>
                    <a:pt x="542" y="1470"/>
                    <a:pt x="542" y="1499"/>
                    <a:pt x="542" y="1529"/>
                  </a:cubicBezTo>
                  <a:cubicBezTo>
                    <a:pt x="513" y="1544"/>
                    <a:pt x="483" y="1529"/>
                    <a:pt x="483" y="1566"/>
                  </a:cubicBezTo>
                  <a:cubicBezTo>
                    <a:pt x="483" y="1596"/>
                    <a:pt x="498" y="1625"/>
                    <a:pt x="505" y="1648"/>
                  </a:cubicBezTo>
                  <a:cubicBezTo>
                    <a:pt x="513" y="1707"/>
                    <a:pt x="483" y="1752"/>
                    <a:pt x="423" y="1744"/>
                  </a:cubicBezTo>
                  <a:cubicBezTo>
                    <a:pt x="416" y="1804"/>
                    <a:pt x="416" y="1975"/>
                    <a:pt x="342" y="2041"/>
                  </a:cubicBezTo>
                  <a:cubicBezTo>
                    <a:pt x="357" y="2049"/>
                    <a:pt x="371" y="2064"/>
                    <a:pt x="357" y="2101"/>
                  </a:cubicBezTo>
                  <a:cubicBezTo>
                    <a:pt x="349" y="2123"/>
                    <a:pt x="327" y="2130"/>
                    <a:pt x="297" y="2138"/>
                  </a:cubicBezTo>
                  <a:cubicBezTo>
                    <a:pt x="275" y="2138"/>
                    <a:pt x="260" y="2175"/>
                    <a:pt x="230" y="2175"/>
                  </a:cubicBezTo>
                  <a:cubicBezTo>
                    <a:pt x="238" y="2145"/>
                    <a:pt x="216" y="2138"/>
                    <a:pt x="193" y="2145"/>
                  </a:cubicBezTo>
                  <a:cubicBezTo>
                    <a:pt x="193" y="2168"/>
                    <a:pt x="201" y="2182"/>
                    <a:pt x="201" y="2205"/>
                  </a:cubicBezTo>
                  <a:cubicBezTo>
                    <a:pt x="208" y="2234"/>
                    <a:pt x="193" y="2264"/>
                    <a:pt x="208" y="2287"/>
                  </a:cubicBezTo>
                  <a:cubicBezTo>
                    <a:pt x="223" y="2324"/>
                    <a:pt x="260" y="2309"/>
                    <a:pt x="282" y="2338"/>
                  </a:cubicBezTo>
                  <a:cubicBezTo>
                    <a:pt x="334" y="2420"/>
                    <a:pt x="238" y="2494"/>
                    <a:pt x="238" y="2569"/>
                  </a:cubicBezTo>
                  <a:cubicBezTo>
                    <a:pt x="260" y="2576"/>
                    <a:pt x="282" y="2554"/>
                    <a:pt x="312" y="2554"/>
                  </a:cubicBezTo>
                  <a:cubicBezTo>
                    <a:pt x="312" y="2591"/>
                    <a:pt x="305" y="2621"/>
                    <a:pt x="305" y="2650"/>
                  </a:cubicBezTo>
                  <a:cubicBezTo>
                    <a:pt x="305" y="2680"/>
                    <a:pt x="312" y="2710"/>
                    <a:pt x="290" y="2747"/>
                  </a:cubicBezTo>
                  <a:cubicBezTo>
                    <a:pt x="282" y="2762"/>
                    <a:pt x="193" y="2814"/>
                    <a:pt x="186" y="2784"/>
                  </a:cubicBezTo>
                  <a:cubicBezTo>
                    <a:pt x="193" y="2806"/>
                    <a:pt x="171" y="2814"/>
                    <a:pt x="163" y="2836"/>
                  </a:cubicBezTo>
                  <a:cubicBezTo>
                    <a:pt x="156" y="2851"/>
                    <a:pt x="156" y="2873"/>
                    <a:pt x="163" y="2895"/>
                  </a:cubicBezTo>
                  <a:cubicBezTo>
                    <a:pt x="171" y="2895"/>
                    <a:pt x="186" y="2888"/>
                    <a:pt x="193" y="2881"/>
                  </a:cubicBezTo>
                  <a:cubicBezTo>
                    <a:pt x="238" y="2903"/>
                    <a:pt x="260" y="2910"/>
                    <a:pt x="253" y="2962"/>
                  </a:cubicBezTo>
                  <a:cubicBezTo>
                    <a:pt x="253" y="3029"/>
                    <a:pt x="245" y="3029"/>
                    <a:pt x="186" y="3036"/>
                  </a:cubicBezTo>
                  <a:cubicBezTo>
                    <a:pt x="178" y="3059"/>
                    <a:pt x="208" y="3074"/>
                    <a:pt x="201" y="3096"/>
                  </a:cubicBezTo>
                  <a:cubicBezTo>
                    <a:pt x="186" y="3126"/>
                    <a:pt x="156" y="3126"/>
                    <a:pt x="178" y="3155"/>
                  </a:cubicBezTo>
                  <a:cubicBezTo>
                    <a:pt x="208" y="3140"/>
                    <a:pt x="230" y="3103"/>
                    <a:pt x="268" y="3126"/>
                  </a:cubicBezTo>
                  <a:cubicBezTo>
                    <a:pt x="297" y="3148"/>
                    <a:pt x="290" y="3192"/>
                    <a:pt x="327" y="3200"/>
                  </a:cubicBezTo>
                  <a:cubicBezTo>
                    <a:pt x="327" y="3259"/>
                    <a:pt x="327" y="3281"/>
                    <a:pt x="379" y="3281"/>
                  </a:cubicBezTo>
                  <a:cubicBezTo>
                    <a:pt x="379" y="3296"/>
                    <a:pt x="386" y="3304"/>
                    <a:pt x="386" y="3319"/>
                  </a:cubicBezTo>
                  <a:cubicBezTo>
                    <a:pt x="423" y="3319"/>
                    <a:pt x="483" y="3319"/>
                    <a:pt x="498" y="3356"/>
                  </a:cubicBezTo>
                  <a:cubicBezTo>
                    <a:pt x="505" y="3386"/>
                    <a:pt x="461" y="3400"/>
                    <a:pt x="468" y="3430"/>
                  </a:cubicBezTo>
                  <a:cubicBezTo>
                    <a:pt x="475" y="3430"/>
                    <a:pt x="483" y="3437"/>
                    <a:pt x="490" y="3437"/>
                  </a:cubicBezTo>
                  <a:cubicBezTo>
                    <a:pt x="475" y="3452"/>
                    <a:pt x="461" y="3460"/>
                    <a:pt x="461" y="3482"/>
                  </a:cubicBezTo>
                  <a:cubicBezTo>
                    <a:pt x="453" y="3489"/>
                    <a:pt x="453" y="3482"/>
                    <a:pt x="446" y="3497"/>
                  </a:cubicBezTo>
                  <a:cubicBezTo>
                    <a:pt x="431" y="3504"/>
                    <a:pt x="416" y="3504"/>
                    <a:pt x="409" y="3519"/>
                  </a:cubicBezTo>
                  <a:cubicBezTo>
                    <a:pt x="379" y="3526"/>
                    <a:pt x="342" y="3519"/>
                    <a:pt x="319" y="3512"/>
                  </a:cubicBezTo>
                  <a:cubicBezTo>
                    <a:pt x="290" y="3504"/>
                    <a:pt x="282" y="3467"/>
                    <a:pt x="260" y="3452"/>
                  </a:cubicBezTo>
                  <a:cubicBezTo>
                    <a:pt x="230" y="3430"/>
                    <a:pt x="156" y="3549"/>
                    <a:pt x="112" y="3541"/>
                  </a:cubicBezTo>
                  <a:cubicBezTo>
                    <a:pt x="112" y="3549"/>
                    <a:pt x="112" y="3549"/>
                    <a:pt x="112" y="3556"/>
                  </a:cubicBezTo>
                  <a:cubicBezTo>
                    <a:pt x="67" y="3564"/>
                    <a:pt x="112" y="3631"/>
                    <a:pt x="67" y="3638"/>
                  </a:cubicBezTo>
                  <a:cubicBezTo>
                    <a:pt x="30" y="3645"/>
                    <a:pt x="45" y="3734"/>
                    <a:pt x="60" y="3757"/>
                  </a:cubicBezTo>
                  <a:cubicBezTo>
                    <a:pt x="74" y="3779"/>
                    <a:pt x="149" y="3809"/>
                    <a:pt x="89" y="3846"/>
                  </a:cubicBezTo>
                  <a:cubicBezTo>
                    <a:pt x="52" y="3868"/>
                    <a:pt x="0" y="3853"/>
                    <a:pt x="15" y="3905"/>
                  </a:cubicBezTo>
                  <a:cubicBezTo>
                    <a:pt x="15" y="3905"/>
                    <a:pt x="15" y="3928"/>
                    <a:pt x="15" y="3950"/>
                  </a:cubicBezTo>
                  <a:cubicBezTo>
                    <a:pt x="22" y="3950"/>
                    <a:pt x="30" y="3950"/>
                    <a:pt x="37" y="3957"/>
                  </a:cubicBezTo>
                  <a:cubicBezTo>
                    <a:pt x="52" y="3965"/>
                    <a:pt x="60" y="3987"/>
                    <a:pt x="74" y="3994"/>
                  </a:cubicBezTo>
                  <a:cubicBezTo>
                    <a:pt x="89" y="4017"/>
                    <a:pt x="134" y="4031"/>
                    <a:pt x="156" y="4009"/>
                  </a:cubicBezTo>
                  <a:cubicBezTo>
                    <a:pt x="208" y="3957"/>
                    <a:pt x="297" y="4121"/>
                    <a:pt x="319" y="4150"/>
                  </a:cubicBezTo>
                  <a:cubicBezTo>
                    <a:pt x="342" y="4188"/>
                    <a:pt x="349" y="4232"/>
                    <a:pt x="364" y="4269"/>
                  </a:cubicBezTo>
                  <a:cubicBezTo>
                    <a:pt x="379" y="4306"/>
                    <a:pt x="342" y="4321"/>
                    <a:pt x="349" y="4358"/>
                  </a:cubicBezTo>
                  <a:cubicBezTo>
                    <a:pt x="386" y="4373"/>
                    <a:pt x="416" y="4328"/>
                    <a:pt x="453" y="4336"/>
                  </a:cubicBezTo>
                  <a:cubicBezTo>
                    <a:pt x="453" y="4351"/>
                    <a:pt x="453" y="4366"/>
                    <a:pt x="453" y="4381"/>
                  </a:cubicBezTo>
                  <a:cubicBezTo>
                    <a:pt x="483" y="4388"/>
                    <a:pt x="483" y="4366"/>
                    <a:pt x="505" y="4366"/>
                  </a:cubicBezTo>
                  <a:cubicBezTo>
                    <a:pt x="505" y="4373"/>
                    <a:pt x="505" y="4373"/>
                    <a:pt x="505" y="4373"/>
                  </a:cubicBezTo>
                  <a:cubicBezTo>
                    <a:pt x="528" y="4396"/>
                    <a:pt x="483" y="4425"/>
                    <a:pt x="513" y="4462"/>
                  </a:cubicBezTo>
                  <a:cubicBezTo>
                    <a:pt x="542" y="4492"/>
                    <a:pt x="535" y="4536"/>
                    <a:pt x="535" y="4574"/>
                  </a:cubicBezTo>
                  <a:cubicBezTo>
                    <a:pt x="535" y="4693"/>
                    <a:pt x="587" y="4611"/>
                    <a:pt x="661" y="4603"/>
                  </a:cubicBezTo>
                  <a:cubicBezTo>
                    <a:pt x="691" y="4596"/>
                    <a:pt x="713" y="4633"/>
                    <a:pt x="743" y="4626"/>
                  </a:cubicBezTo>
                  <a:lnTo>
                    <a:pt x="750" y="4626"/>
                  </a:lnTo>
                  <a:cubicBezTo>
                    <a:pt x="750" y="4611"/>
                    <a:pt x="750" y="4596"/>
                    <a:pt x="750" y="4596"/>
                  </a:cubicBezTo>
                  <a:cubicBezTo>
                    <a:pt x="750" y="4536"/>
                    <a:pt x="787" y="4514"/>
                    <a:pt x="817" y="4470"/>
                  </a:cubicBezTo>
                  <a:cubicBezTo>
                    <a:pt x="854" y="4425"/>
                    <a:pt x="854" y="4366"/>
                    <a:pt x="862" y="4314"/>
                  </a:cubicBezTo>
                  <a:cubicBezTo>
                    <a:pt x="891" y="4306"/>
                    <a:pt x="906" y="4284"/>
                    <a:pt x="928" y="4262"/>
                  </a:cubicBezTo>
                  <a:cubicBezTo>
                    <a:pt x="943" y="4254"/>
                    <a:pt x="951" y="4247"/>
                    <a:pt x="965" y="4239"/>
                  </a:cubicBezTo>
                  <a:cubicBezTo>
                    <a:pt x="980" y="4232"/>
                    <a:pt x="1003" y="4247"/>
                    <a:pt x="1018" y="4239"/>
                  </a:cubicBezTo>
                  <a:cubicBezTo>
                    <a:pt x="1077" y="4210"/>
                    <a:pt x="1077" y="4128"/>
                    <a:pt x="1122" y="4091"/>
                  </a:cubicBezTo>
                  <a:cubicBezTo>
                    <a:pt x="1144" y="4091"/>
                    <a:pt x="1159" y="4083"/>
                    <a:pt x="1181" y="4083"/>
                  </a:cubicBezTo>
                  <a:cubicBezTo>
                    <a:pt x="1188" y="4031"/>
                    <a:pt x="1181" y="4017"/>
                    <a:pt x="1136" y="3987"/>
                  </a:cubicBezTo>
                  <a:cubicBezTo>
                    <a:pt x="1166" y="3980"/>
                    <a:pt x="1196" y="3980"/>
                    <a:pt x="1225" y="3980"/>
                  </a:cubicBezTo>
                  <a:cubicBezTo>
                    <a:pt x="1233" y="3928"/>
                    <a:pt x="1278" y="3950"/>
                    <a:pt x="1300" y="3928"/>
                  </a:cubicBezTo>
                  <a:cubicBezTo>
                    <a:pt x="1330" y="3905"/>
                    <a:pt x="1330" y="3846"/>
                    <a:pt x="1322" y="3816"/>
                  </a:cubicBezTo>
                  <a:cubicBezTo>
                    <a:pt x="1344" y="3816"/>
                    <a:pt x="1359" y="3816"/>
                    <a:pt x="1374" y="3816"/>
                  </a:cubicBezTo>
                  <a:cubicBezTo>
                    <a:pt x="1389" y="3720"/>
                    <a:pt x="1352" y="3638"/>
                    <a:pt x="1352" y="3549"/>
                  </a:cubicBezTo>
                  <a:cubicBezTo>
                    <a:pt x="1352" y="3512"/>
                    <a:pt x="1367" y="3467"/>
                    <a:pt x="1344" y="3437"/>
                  </a:cubicBezTo>
                  <a:cubicBezTo>
                    <a:pt x="1337" y="3408"/>
                    <a:pt x="1300" y="3400"/>
                    <a:pt x="1292" y="3371"/>
                  </a:cubicBezTo>
                  <a:cubicBezTo>
                    <a:pt x="1285" y="3371"/>
                    <a:pt x="1263" y="3363"/>
                    <a:pt x="1248" y="3363"/>
                  </a:cubicBezTo>
                  <a:cubicBezTo>
                    <a:pt x="1248" y="3296"/>
                    <a:pt x="1315" y="3237"/>
                    <a:pt x="1292" y="3170"/>
                  </a:cubicBezTo>
                  <a:cubicBezTo>
                    <a:pt x="1278" y="3126"/>
                    <a:pt x="1218" y="3155"/>
                    <a:pt x="1218" y="3103"/>
                  </a:cubicBezTo>
                  <a:cubicBezTo>
                    <a:pt x="1196" y="3103"/>
                    <a:pt x="1173" y="3103"/>
                    <a:pt x="1159" y="3103"/>
                  </a:cubicBezTo>
                  <a:cubicBezTo>
                    <a:pt x="1122" y="3044"/>
                    <a:pt x="1173" y="2992"/>
                    <a:pt x="1173" y="2932"/>
                  </a:cubicBezTo>
                  <a:cubicBezTo>
                    <a:pt x="1203" y="2932"/>
                    <a:pt x="1263" y="2918"/>
                    <a:pt x="1255" y="2970"/>
                  </a:cubicBezTo>
                  <a:cubicBezTo>
                    <a:pt x="1337" y="2970"/>
                    <a:pt x="1389" y="2984"/>
                    <a:pt x="1456" y="3029"/>
                  </a:cubicBezTo>
                  <a:cubicBezTo>
                    <a:pt x="1456" y="3066"/>
                    <a:pt x="1456" y="3133"/>
                    <a:pt x="1515" y="3118"/>
                  </a:cubicBezTo>
                  <a:cubicBezTo>
                    <a:pt x="1508" y="3051"/>
                    <a:pt x="1627" y="3074"/>
                    <a:pt x="1664" y="3089"/>
                  </a:cubicBezTo>
                  <a:cubicBezTo>
                    <a:pt x="1664" y="3111"/>
                    <a:pt x="1664" y="3140"/>
                    <a:pt x="1664" y="3163"/>
                  </a:cubicBezTo>
                  <a:cubicBezTo>
                    <a:pt x="1700" y="3170"/>
                    <a:pt x="1715" y="3140"/>
                    <a:pt x="1737" y="3126"/>
                  </a:cubicBezTo>
                  <a:cubicBezTo>
                    <a:pt x="1737" y="3089"/>
                    <a:pt x="1752" y="3044"/>
                    <a:pt x="1729" y="3014"/>
                  </a:cubicBezTo>
                  <a:cubicBezTo>
                    <a:pt x="1729" y="3007"/>
                    <a:pt x="1634" y="3014"/>
                    <a:pt x="1627" y="3014"/>
                  </a:cubicBezTo>
                  <a:cubicBezTo>
                    <a:pt x="1597" y="3007"/>
                    <a:pt x="1537" y="2999"/>
                    <a:pt x="1530" y="2962"/>
                  </a:cubicBezTo>
                  <a:cubicBezTo>
                    <a:pt x="1530" y="2925"/>
                    <a:pt x="1537" y="2888"/>
                    <a:pt x="1545" y="2858"/>
                  </a:cubicBezTo>
                  <a:cubicBezTo>
                    <a:pt x="1552" y="2791"/>
                    <a:pt x="1589" y="2717"/>
                    <a:pt x="1545" y="2658"/>
                  </a:cubicBezTo>
                  <a:cubicBezTo>
                    <a:pt x="1537" y="2643"/>
                    <a:pt x="1508" y="2650"/>
                    <a:pt x="1508" y="2628"/>
                  </a:cubicBezTo>
                  <a:cubicBezTo>
                    <a:pt x="1500" y="2598"/>
                    <a:pt x="1508" y="2576"/>
                    <a:pt x="1508" y="2546"/>
                  </a:cubicBezTo>
                  <a:cubicBezTo>
                    <a:pt x="1500" y="2472"/>
                    <a:pt x="1508" y="2390"/>
                    <a:pt x="1515" y="2316"/>
                  </a:cubicBezTo>
                  <a:cubicBezTo>
                    <a:pt x="1523" y="2316"/>
                    <a:pt x="1537" y="2316"/>
                    <a:pt x="1552" y="2324"/>
                  </a:cubicBezTo>
                  <a:cubicBezTo>
                    <a:pt x="1552" y="2353"/>
                    <a:pt x="1567" y="2383"/>
                    <a:pt x="1604" y="2376"/>
                  </a:cubicBezTo>
                  <a:cubicBezTo>
                    <a:pt x="1619" y="2368"/>
                    <a:pt x="1634" y="2331"/>
                    <a:pt x="1649" y="2316"/>
                  </a:cubicBezTo>
                  <a:cubicBezTo>
                    <a:pt x="1678" y="2257"/>
                    <a:pt x="1700" y="2197"/>
                    <a:pt x="1700" y="2130"/>
                  </a:cubicBezTo>
                  <a:cubicBezTo>
                    <a:pt x="1774" y="2123"/>
                    <a:pt x="1856" y="2138"/>
                    <a:pt x="1930" y="2138"/>
                  </a:cubicBezTo>
                  <a:cubicBezTo>
                    <a:pt x="1952" y="2138"/>
                    <a:pt x="1997" y="2130"/>
                    <a:pt x="2019" y="2153"/>
                  </a:cubicBezTo>
                  <a:cubicBezTo>
                    <a:pt x="2041" y="2175"/>
                    <a:pt x="2064" y="2168"/>
                    <a:pt x="2093" y="2168"/>
                  </a:cubicBezTo>
                  <a:cubicBezTo>
                    <a:pt x="2101" y="2145"/>
                    <a:pt x="2116" y="2123"/>
                    <a:pt x="2123" y="2093"/>
                  </a:cubicBezTo>
                  <a:cubicBezTo>
                    <a:pt x="2131" y="2071"/>
                    <a:pt x="2116" y="2041"/>
                    <a:pt x="2131" y="2027"/>
                  </a:cubicBezTo>
                  <a:cubicBezTo>
                    <a:pt x="2153" y="1989"/>
                    <a:pt x="2220" y="2004"/>
                    <a:pt x="2257" y="2004"/>
                  </a:cubicBezTo>
                  <a:cubicBezTo>
                    <a:pt x="2264" y="1975"/>
                    <a:pt x="2227" y="1960"/>
                    <a:pt x="2227" y="1930"/>
                  </a:cubicBezTo>
                  <a:cubicBezTo>
                    <a:pt x="2220" y="1893"/>
                    <a:pt x="2227" y="1841"/>
                    <a:pt x="2249" y="1811"/>
                  </a:cubicBezTo>
                  <a:cubicBezTo>
                    <a:pt x="2264" y="1789"/>
                    <a:pt x="2301" y="1782"/>
                    <a:pt x="2301" y="1767"/>
                  </a:cubicBezTo>
                  <a:cubicBezTo>
                    <a:pt x="2309" y="1744"/>
                    <a:pt x="2294" y="1722"/>
                    <a:pt x="2316" y="1715"/>
                  </a:cubicBezTo>
                  <a:cubicBezTo>
                    <a:pt x="2331" y="1655"/>
                    <a:pt x="2361" y="1640"/>
                    <a:pt x="2413" y="1611"/>
                  </a:cubicBezTo>
                  <a:cubicBezTo>
                    <a:pt x="2390" y="1566"/>
                    <a:pt x="2338" y="1544"/>
                    <a:pt x="2368" y="1485"/>
                  </a:cubicBezTo>
                  <a:cubicBezTo>
                    <a:pt x="2383" y="1455"/>
                    <a:pt x="2405" y="1477"/>
                    <a:pt x="2405" y="1440"/>
                  </a:cubicBezTo>
                  <a:cubicBezTo>
                    <a:pt x="2405" y="1410"/>
                    <a:pt x="2450" y="1380"/>
                    <a:pt x="2472" y="1373"/>
                  </a:cubicBezTo>
                  <a:cubicBezTo>
                    <a:pt x="2509" y="1343"/>
                    <a:pt x="2576" y="1284"/>
                    <a:pt x="2621" y="1276"/>
                  </a:cubicBezTo>
                  <a:cubicBezTo>
                    <a:pt x="2710" y="1254"/>
                    <a:pt x="2702" y="1225"/>
                    <a:pt x="2702" y="1150"/>
                  </a:cubicBezTo>
                  <a:cubicBezTo>
                    <a:pt x="2695" y="1143"/>
                    <a:pt x="2687" y="1143"/>
                    <a:pt x="2687" y="1143"/>
                  </a:cubicBezTo>
                  <a:cubicBezTo>
                    <a:pt x="2702" y="1143"/>
                    <a:pt x="2710" y="1143"/>
                    <a:pt x="2725" y="1143"/>
                  </a:cubicBezTo>
                  <a:cubicBezTo>
                    <a:pt x="2739" y="1098"/>
                    <a:pt x="2762" y="1061"/>
                    <a:pt x="2799" y="1031"/>
                  </a:cubicBezTo>
                  <a:cubicBezTo>
                    <a:pt x="2821" y="1002"/>
                    <a:pt x="2881" y="1009"/>
                    <a:pt x="2881" y="958"/>
                  </a:cubicBezTo>
                </a:path>
              </a:pathLst>
            </a:custGeom>
            <a:grpFill/>
            <a:ln w="6350" cap="flat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lIns="60927" tIns="30463" rIns="60927" bIns="30463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3" name="Freeform 15"/>
            <p:cNvSpPr>
              <a:spLocks noChangeArrowheads="1"/>
            </p:cNvSpPr>
            <p:nvPr/>
          </p:nvSpPr>
          <p:spPr bwMode="auto">
            <a:xfrm>
              <a:off x="10368191" y="4179130"/>
              <a:ext cx="960808" cy="943023"/>
            </a:xfrm>
            <a:custGeom>
              <a:avLst/>
              <a:gdLst>
                <a:gd name="T0" fmla="*/ 1938 w 2221"/>
                <a:gd name="T1" fmla="*/ 668 h 2184"/>
                <a:gd name="T2" fmla="*/ 1864 w 2221"/>
                <a:gd name="T3" fmla="*/ 616 h 2184"/>
                <a:gd name="T4" fmla="*/ 1842 w 2221"/>
                <a:gd name="T5" fmla="*/ 594 h 2184"/>
                <a:gd name="T6" fmla="*/ 1782 w 2221"/>
                <a:gd name="T7" fmla="*/ 453 h 2184"/>
                <a:gd name="T8" fmla="*/ 1715 w 2221"/>
                <a:gd name="T9" fmla="*/ 483 h 2184"/>
                <a:gd name="T10" fmla="*/ 1604 w 2221"/>
                <a:gd name="T11" fmla="*/ 468 h 2184"/>
                <a:gd name="T12" fmla="*/ 1559 w 2221"/>
                <a:gd name="T13" fmla="*/ 334 h 2184"/>
                <a:gd name="T14" fmla="*/ 1493 w 2221"/>
                <a:gd name="T15" fmla="*/ 215 h 2184"/>
                <a:gd name="T16" fmla="*/ 1262 w 2221"/>
                <a:gd name="T17" fmla="*/ 282 h 2184"/>
                <a:gd name="T18" fmla="*/ 1107 w 2221"/>
                <a:gd name="T19" fmla="*/ 208 h 2184"/>
                <a:gd name="T20" fmla="*/ 988 w 2221"/>
                <a:gd name="T21" fmla="*/ 149 h 2184"/>
                <a:gd name="T22" fmla="*/ 876 w 2221"/>
                <a:gd name="T23" fmla="*/ 96 h 2184"/>
                <a:gd name="T24" fmla="*/ 691 w 2221"/>
                <a:gd name="T25" fmla="*/ 22 h 2184"/>
                <a:gd name="T26" fmla="*/ 505 w 2221"/>
                <a:gd name="T27" fmla="*/ 141 h 2184"/>
                <a:gd name="T28" fmla="*/ 386 w 2221"/>
                <a:gd name="T29" fmla="*/ 186 h 2184"/>
                <a:gd name="T30" fmla="*/ 349 w 2221"/>
                <a:gd name="T31" fmla="*/ 215 h 2184"/>
                <a:gd name="T32" fmla="*/ 282 w 2221"/>
                <a:gd name="T33" fmla="*/ 186 h 2184"/>
                <a:gd name="T34" fmla="*/ 230 w 2221"/>
                <a:gd name="T35" fmla="*/ 253 h 2184"/>
                <a:gd name="T36" fmla="*/ 275 w 2221"/>
                <a:gd name="T37" fmla="*/ 356 h 2184"/>
                <a:gd name="T38" fmla="*/ 208 w 2221"/>
                <a:gd name="T39" fmla="*/ 490 h 2184"/>
                <a:gd name="T40" fmla="*/ 193 w 2221"/>
                <a:gd name="T41" fmla="*/ 512 h 2184"/>
                <a:gd name="T42" fmla="*/ 186 w 2221"/>
                <a:gd name="T43" fmla="*/ 542 h 2184"/>
                <a:gd name="T44" fmla="*/ 156 w 2221"/>
                <a:gd name="T45" fmla="*/ 646 h 2184"/>
                <a:gd name="T46" fmla="*/ 52 w 2221"/>
                <a:gd name="T47" fmla="*/ 743 h 2184"/>
                <a:gd name="T48" fmla="*/ 0 w 2221"/>
                <a:gd name="T49" fmla="*/ 824 h 2184"/>
                <a:gd name="T50" fmla="*/ 178 w 2221"/>
                <a:gd name="T51" fmla="*/ 899 h 2184"/>
                <a:gd name="T52" fmla="*/ 282 w 2221"/>
                <a:gd name="T53" fmla="*/ 1166 h 2184"/>
                <a:gd name="T54" fmla="*/ 342 w 2221"/>
                <a:gd name="T55" fmla="*/ 1359 h 2184"/>
                <a:gd name="T56" fmla="*/ 490 w 2221"/>
                <a:gd name="T57" fmla="*/ 1322 h 2184"/>
                <a:gd name="T58" fmla="*/ 609 w 2221"/>
                <a:gd name="T59" fmla="*/ 1448 h 2184"/>
                <a:gd name="T60" fmla="*/ 624 w 2221"/>
                <a:gd name="T61" fmla="*/ 1530 h 2184"/>
                <a:gd name="T62" fmla="*/ 765 w 2221"/>
                <a:gd name="T63" fmla="*/ 1678 h 2184"/>
                <a:gd name="T64" fmla="*/ 802 w 2221"/>
                <a:gd name="T65" fmla="*/ 1715 h 2184"/>
                <a:gd name="T66" fmla="*/ 839 w 2221"/>
                <a:gd name="T67" fmla="*/ 1790 h 2184"/>
                <a:gd name="T68" fmla="*/ 980 w 2221"/>
                <a:gd name="T69" fmla="*/ 1938 h 2184"/>
                <a:gd name="T70" fmla="*/ 1092 w 2221"/>
                <a:gd name="T71" fmla="*/ 2102 h 2184"/>
                <a:gd name="T72" fmla="*/ 1225 w 2221"/>
                <a:gd name="T73" fmla="*/ 2161 h 2184"/>
                <a:gd name="T74" fmla="*/ 1225 w 2221"/>
                <a:gd name="T75" fmla="*/ 2161 h 2184"/>
                <a:gd name="T76" fmla="*/ 1225 w 2221"/>
                <a:gd name="T77" fmla="*/ 2161 h 2184"/>
                <a:gd name="T78" fmla="*/ 1344 w 2221"/>
                <a:gd name="T79" fmla="*/ 2102 h 2184"/>
                <a:gd name="T80" fmla="*/ 1322 w 2221"/>
                <a:gd name="T81" fmla="*/ 1938 h 2184"/>
                <a:gd name="T82" fmla="*/ 1381 w 2221"/>
                <a:gd name="T83" fmla="*/ 1805 h 2184"/>
                <a:gd name="T84" fmla="*/ 1366 w 2221"/>
                <a:gd name="T85" fmla="*/ 1738 h 2184"/>
                <a:gd name="T86" fmla="*/ 1404 w 2221"/>
                <a:gd name="T87" fmla="*/ 1715 h 2184"/>
                <a:gd name="T88" fmla="*/ 1567 w 2221"/>
                <a:gd name="T89" fmla="*/ 1641 h 2184"/>
                <a:gd name="T90" fmla="*/ 1723 w 2221"/>
                <a:gd name="T91" fmla="*/ 1537 h 2184"/>
                <a:gd name="T92" fmla="*/ 1968 w 2221"/>
                <a:gd name="T93" fmla="*/ 1582 h 2184"/>
                <a:gd name="T94" fmla="*/ 2220 w 2221"/>
                <a:gd name="T95" fmla="*/ 1656 h 2184"/>
                <a:gd name="T96" fmla="*/ 2161 w 2221"/>
                <a:gd name="T97" fmla="*/ 1485 h 2184"/>
                <a:gd name="T98" fmla="*/ 2131 w 2221"/>
                <a:gd name="T99" fmla="*/ 1381 h 2184"/>
                <a:gd name="T100" fmla="*/ 2087 w 2221"/>
                <a:gd name="T101" fmla="*/ 1307 h 2184"/>
                <a:gd name="T102" fmla="*/ 2131 w 2221"/>
                <a:gd name="T103" fmla="*/ 1158 h 2184"/>
                <a:gd name="T104" fmla="*/ 2049 w 2221"/>
                <a:gd name="T105" fmla="*/ 921 h 2184"/>
                <a:gd name="T106" fmla="*/ 2005 w 2221"/>
                <a:gd name="T107" fmla="*/ 832 h 2184"/>
                <a:gd name="T108" fmla="*/ 1953 w 2221"/>
                <a:gd name="T109" fmla="*/ 743 h 2184"/>
                <a:gd name="T110" fmla="*/ 1983 w 2221"/>
                <a:gd name="T111" fmla="*/ 668 h 2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221" h="2184">
                  <a:moveTo>
                    <a:pt x="1938" y="668"/>
                  </a:moveTo>
                  <a:lnTo>
                    <a:pt x="1938" y="668"/>
                  </a:lnTo>
                  <a:cubicBezTo>
                    <a:pt x="1916" y="668"/>
                    <a:pt x="1916" y="668"/>
                    <a:pt x="1901" y="646"/>
                  </a:cubicBezTo>
                  <a:cubicBezTo>
                    <a:pt x="1886" y="631"/>
                    <a:pt x="1886" y="624"/>
                    <a:pt x="1864" y="616"/>
                  </a:cubicBezTo>
                  <a:cubicBezTo>
                    <a:pt x="1849" y="616"/>
                    <a:pt x="1819" y="624"/>
                    <a:pt x="1812" y="631"/>
                  </a:cubicBezTo>
                  <a:cubicBezTo>
                    <a:pt x="1812" y="616"/>
                    <a:pt x="1819" y="587"/>
                    <a:pt x="1842" y="594"/>
                  </a:cubicBezTo>
                  <a:cubicBezTo>
                    <a:pt x="1857" y="550"/>
                    <a:pt x="1909" y="379"/>
                    <a:pt x="1804" y="431"/>
                  </a:cubicBezTo>
                  <a:cubicBezTo>
                    <a:pt x="1797" y="438"/>
                    <a:pt x="1790" y="446"/>
                    <a:pt x="1782" y="453"/>
                  </a:cubicBezTo>
                  <a:cubicBezTo>
                    <a:pt x="1775" y="453"/>
                    <a:pt x="1760" y="446"/>
                    <a:pt x="1752" y="453"/>
                  </a:cubicBezTo>
                  <a:cubicBezTo>
                    <a:pt x="1738" y="461"/>
                    <a:pt x="1738" y="483"/>
                    <a:pt x="1715" y="483"/>
                  </a:cubicBezTo>
                  <a:cubicBezTo>
                    <a:pt x="1701" y="490"/>
                    <a:pt x="1678" y="475"/>
                    <a:pt x="1663" y="475"/>
                  </a:cubicBezTo>
                  <a:cubicBezTo>
                    <a:pt x="1641" y="468"/>
                    <a:pt x="1619" y="475"/>
                    <a:pt x="1604" y="468"/>
                  </a:cubicBezTo>
                  <a:cubicBezTo>
                    <a:pt x="1604" y="446"/>
                    <a:pt x="1604" y="423"/>
                    <a:pt x="1604" y="401"/>
                  </a:cubicBezTo>
                  <a:cubicBezTo>
                    <a:pt x="1597" y="379"/>
                    <a:pt x="1574" y="349"/>
                    <a:pt x="1559" y="334"/>
                  </a:cubicBezTo>
                  <a:cubicBezTo>
                    <a:pt x="1545" y="312"/>
                    <a:pt x="1507" y="304"/>
                    <a:pt x="1493" y="290"/>
                  </a:cubicBezTo>
                  <a:cubicBezTo>
                    <a:pt x="1485" y="267"/>
                    <a:pt x="1493" y="238"/>
                    <a:pt x="1493" y="215"/>
                  </a:cubicBezTo>
                  <a:cubicBezTo>
                    <a:pt x="1455" y="208"/>
                    <a:pt x="1418" y="245"/>
                    <a:pt x="1389" y="253"/>
                  </a:cubicBezTo>
                  <a:cubicBezTo>
                    <a:pt x="1352" y="267"/>
                    <a:pt x="1307" y="282"/>
                    <a:pt x="1262" y="282"/>
                  </a:cubicBezTo>
                  <a:cubicBezTo>
                    <a:pt x="1218" y="290"/>
                    <a:pt x="1173" y="282"/>
                    <a:pt x="1144" y="245"/>
                  </a:cubicBezTo>
                  <a:cubicBezTo>
                    <a:pt x="1129" y="223"/>
                    <a:pt x="1129" y="215"/>
                    <a:pt x="1107" y="208"/>
                  </a:cubicBezTo>
                  <a:cubicBezTo>
                    <a:pt x="1084" y="208"/>
                    <a:pt x="1055" y="215"/>
                    <a:pt x="1032" y="208"/>
                  </a:cubicBezTo>
                  <a:cubicBezTo>
                    <a:pt x="1025" y="186"/>
                    <a:pt x="995" y="171"/>
                    <a:pt x="988" y="149"/>
                  </a:cubicBezTo>
                  <a:cubicBezTo>
                    <a:pt x="973" y="119"/>
                    <a:pt x="980" y="119"/>
                    <a:pt x="943" y="111"/>
                  </a:cubicBezTo>
                  <a:cubicBezTo>
                    <a:pt x="921" y="111"/>
                    <a:pt x="891" y="111"/>
                    <a:pt x="876" y="96"/>
                  </a:cubicBezTo>
                  <a:cubicBezTo>
                    <a:pt x="854" y="74"/>
                    <a:pt x="869" y="52"/>
                    <a:pt x="854" y="30"/>
                  </a:cubicBezTo>
                  <a:cubicBezTo>
                    <a:pt x="802" y="22"/>
                    <a:pt x="742" y="22"/>
                    <a:pt x="691" y="22"/>
                  </a:cubicBezTo>
                  <a:cubicBezTo>
                    <a:pt x="631" y="15"/>
                    <a:pt x="572" y="0"/>
                    <a:pt x="550" y="59"/>
                  </a:cubicBezTo>
                  <a:cubicBezTo>
                    <a:pt x="527" y="82"/>
                    <a:pt x="535" y="126"/>
                    <a:pt x="505" y="141"/>
                  </a:cubicBezTo>
                  <a:cubicBezTo>
                    <a:pt x="475" y="156"/>
                    <a:pt x="431" y="141"/>
                    <a:pt x="401" y="149"/>
                  </a:cubicBezTo>
                  <a:cubicBezTo>
                    <a:pt x="401" y="164"/>
                    <a:pt x="394" y="178"/>
                    <a:pt x="386" y="186"/>
                  </a:cubicBezTo>
                  <a:cubicBezTo>
                    <a:pt x="379" y="193"/>
                    <a:pt x="371" y="193"/>
                    <a:pt x="371" y="193"/>
                  </a:cubicBezTo>
                  <a:cubicBezTo>
                    <a:pt x="364" y="201"/>
                    <a:pt x="356" y="208"/>
                    <a:pt x="349" y="215"/>
                  </a:cubicBezTo>
                  <a:cubicBezTo>
                    <a:pt x="334" y="230"/>
                    <a:pt x="334" y="230"/>
                    <a:pt x="312" y="223"/>
                  </a:cubicBezTo>
                  <a:cubicBezTo>
                    <a:pt x="290" y="215"/>
                    <a:pt x="290" y="208"/>
                    <a:pt x="282" y="186"/>
                  </a:cubicBezTo>
                  <a:cubicBezTo>
                    <a:pt x="267" y="186"/>
                    <a:pt x="260" y="193"/>
                    <a:pt x="245" y="193"/>
                  </a:cubicBezTo>
                  <a:cubicBezTo>
                    <a:pt x="238" y="215"/>
                    <a:pt x="230" y="230"/>
                    <a:pt x="230" y="253"/>
                  </a:cubicBezTo>
                  <a:cubicBezTo>
                    <a:pt x="260" y="253"/>
                    <a:pt x="275" y="253"/>
                    <a:pt x="282" y="282"/>
                  </a:cubicBezTo>
                  <a:cubicBezTo>
                    <a:pt x="282" y="312"/>
                    <a:pt x="275" y="334"/>
                    <a:pt x="275" y="356"/>
                  </a:cubicBezTo>
                  <a:cubicBezTo>
                    <a:pt x="267" y="401"/>
                    <a:pt x="267" y="446"/>
                    <a:pt x="238" y="475"/>
                  </a:cubicBezTo>
                  <a:cubicBezTo>
                    <a:pt x="230" y="483"/>
                    <a:pt x="223" y="483"/>
                    <a:pt x="208" y="490"/>
                  </a:cubicBezTo>
                  <a:cubicBezTo>
                    <a:pt x="208" y="498"/>
                    <a:pt x="200" y="498"/>
                    <a:pt x="200" y="498"/>
                  </a:cubicBezTo>
                  <a:cubicBezTo>
                    <a:pt x="193" y="498"/>
                    <a:pt x="200" y="505"/>
                    <a:pt x="193" y="512"/>
                  </a:cubicBezTo>
                  <a:cubicBezTo>
                    <a:pt x="186" y="512"/>
                    <a:pt x="178" y="512"/>
                    <a:pt x="171" y="512"/>
                  </a:cubicBezTo>
                  <a:cubicBezTo>
                    <a:pt x="178" y="527"/>
                    <a:pt x="186" y="542"/>
                    <a:pt x="186" y="542"/>
                  </a:cubicBezTo>
                  <a:cubicBezTo>
                    <a:pt x="200" y="564"/>
                    <a:pt x="230" y="587"/>
                    <a:pt x="230" y="616"/>
                  </a:cubicBezTo>
                  <a:cubicBezTo>
                    <a:pt x="200" y="616"/>
                    <a:pt x="171" y="624"/>
                    <a:pt x="156" y="646"/>
                  </a:cubicBezTo>
                  <a:cubicBezTo>
                    <a:pt x="156" y="646"/>
                    <a:pt x="126" y="706"/>
                    <a:pt x="134" y="706"/>
                  </a:cubicBezTo>
                  <a:cubicBezTo>
                    <a:pt x="97" y="706"/>
                    <a:pt x="45" y="691"/>
                    <a:pt x="52" y="743"/>
                  </a:cubicBezTo>
                  <a:cubicBezTo>
                    <a:pt x="52" y="765"/>
                    <a:pt x="67" y="795"/>
                    <a:pt x="45" y="809"/>
                  </a:cubicBezTo>
                  <a:cubicBezTo>
                    <a:pt x="30" y="817"/>
                    <a:pt x="7" y="809"/>
                    <a:pt x="0" y="824"/>
                  </a:cubicBezTo>
                  <a:cubicBezTo>
                    <a:pt x="22" y="847"/>
                    <a:pt x="59" y="832"/>
                    <a:pt x="82" y="847"/>
                  </a:cubicBezTo>
                  <a:cubicBezTo>
                    <a:pt x="111" y="861"/>
                    <a:pt x="156" y="869"/>
                    <a:pt x="178" y="899"/>
                  </a:cubicBezTo>
                  <a:cubicBezTo>
                    <a:pt x="193" y="913"/>
                    <a:pt x="252" y="995"/>
                    <a:pt x="245" y="1017"/>
                  </a:cubicBezTo>
                  <a:cubicBezTo>
                    <a:pt x="148" y="995"/>
                    <a:pt x="267" y="1144"/>
                    <a:pt x="282" y="1166"/>
                  </a:cubicBezTo>
                  <a:cubicBezTo>
                    <a:pt x="305" y="1188"/>
                    <a:pt x="327" y="1218"/>
                    <a:pt x="334" y="1248"/>
                  </a:cubicBezTo>
                  <a:cubicBezTo>
                    <a:pt x="349" y="1285"/>
                    <a:pt x="342" y="1322"/>
                    <a:pt x="342" y="1359"/>
                  </a:cubicBezTo>
                  <a:cubicBezTo>
                    <a:pt x="379" y="1366"/>
                    <a:pt x="431" y="1381"/>
                    <a:pt x="445" y="1329"/>
                  </a:cubicBezTo>
                  <a:cubicBezTo>
                    <a:pt x="453" y="1292"/>
                    <a:pt x="468" y="1285"/>
                    <a:pt x="490" y="1322"/>
                  </a:cubicBezTo>
                  <a:cubicBezTo>
                    <a:pt x="505" y="1352"/>
                    <a:pt x="520" y="1403"/>
                    <a:pt x="550" y="1411"/>
                  </a:cubicBezTo>
                  <a:cubicBezTo>
                    <a:pt x="587" y="1418"/>
                    <a:pt x="609" y="1396"/>
                    <a:pt x="609" y="1448"/>
                  </a:cubicBezTo>
                  <a:cubicBezTo>
                    <a:pt x="609" y="1448"/>
                    <a:pt x="616" y="1448"/>
                    <a:pt x="624" y="1448"/>
                  </a:cubicBezTo>
                  <a:cubicBezTo>
                    <a:pt x="616" y="1470"/>
                    <a:pt x="631" y="1515"/>
                    <a:pt x="624" y="1530"/>
                  </a:cubicBezTo>
                  <a:cubicBezTo>
                    <a:pt x="609" y="1560"/>
                    <a:pt x="602" y="1574"/>
                    <a:pt x="616" y="1597"/>
                  </a:cubicBezTo>
                  <a:cubicBezTo>
                    <a:pt x="653" y="1656"/>
                    <a:pt x="713" y="1641"/>
                    <a:pt x="765" y="1678"/>
                  </a:cubicBezTo>
                  <a:cubicBezTo>
                    <a:pt x="765" y="1686"/>
                    <a:pt x="772" y="1693"/>
                    <a:pt x="772" y="1693"/>
                  </a:cubicBezTo>
                  <a:cubicBezTo>
                    <a:pt x="787" y="1701"/>
                    <a:pt x="802" y="1715"/>
                    <a:pt x="802" y="1715"/>
                  </a:cubicBezTo>
                  <a:cubicBezTo>
                    <a:pt x="802" y="1715"/>
                    <a:pt x="802" y="1723"/>
                    <a:pt x="802" y="1730"/>
                  </a:cubicBezTo>
                  <a:cubicBezTo>
                    <a:pt x="810" y="1753"/>
                    <a:pt x="824" y="1775"/>
                    <a:pt x="839" y="1790"/>
                  </a:cubicBezTo>
                  <a:cubicBezTo>
                    <a:pt x="861" y="1812"/>
                    <a:pt x="884" y="1842"/>
                    <a:pt x="913" y="1871"/>
                  </a:cubicBezTo>
                  <a:cubicBezTo>
                    <a:pt x="936" y="1886"/>
                    <a:pt x="980" y="1908"/>
                    <a:pt x="980" y="1938"/>
                  </a:cubicBezTo>
                  <a:cubicBezTo>
                    <a:pt x="988" y="1975"/>
                    <a:pt x="980" y="2013"/>
                    <a:pt x="980" y="2057"/>
                  </a:cubicBezTo>
                  <a:cubicBezTo>
                    <a:pt x="1025" y="2057"/>
                    <a:pt x="1062" y="2065"/>
                    <a:pt x="1092" y="2102"/>
                  </a:cubicBezTo>
                  <a:cubicBezTo>
                    <a:pt x="1114" y="2139"/>
                    <a:pt x="1151" y="2131"/>
                    <a:pt x="1188" y="2131"/>
                  </a:cubicBezTo>
                  <a:cubicBezTo>
                    <a:pt x="1188" y="2183"/>
                    <a:pt x="1203" y="2176"/>
                    <a:pt x="1225" y="2161"/>
                  </a:cubicBezTo>
                  <a:lnTo>
                    <a:pt x="1225" y="2154"/>
                  </a:lnTo>
                  <a:lnTo>
                    <a:pt x="1225" y="2161"/>
                  </a:lnTo>
                  <a:cubicBezTo>
                    <a:pt x="1240" y="2154"/>
                    <a:pt x="1255" y="2139"/>
                    <a:pt x="1262" y="2131"/>
                  </a:cubicBezTo>
                  <a:cubicBezTo>
                    <a:pt x="1255" y="2139"/>
                    <a:pt x="1240" y="2154"/>
                    <a:pt x="1225" y="2161"/>
                  </a:cubicBezTo>
                  <a:lnTo>
                    <a:pt x="1225" y="2168"/>
                  </a:lnTo>
                  <a:cubicBezTo>
                    <a:pt x="1262" y="2146"/>
                    <a:pt x="1322" y="2116"/>
                    <a:pt x="1344" y="2102"/>
                  </a:cubicBezTo>
                  <a:cubicBezTo>
                    <a:pt x="1366" y="2087"/>
                    <a:pt x="1359" y="2050"/>
                    <a:pt x="1322" y="2050"/>
                  </a:cubicBezTo>
                  <a:cubicBezTo>
                    <a:pt x="1329" y="2020"/>
                    <a:pt x="1366" y="1938"/>
                    <a:pt x="1322" y="1938"/>
                  </a:cubicBezTo>
                  <a:cubicBezTo>
                    <a:pt x="1314" y="1916"/>
                    <a:pt x="1352" y="1812"/>
                    <a:pt x="1381" y="1819"/>
                  </a:cubicBezTo>
                  <a:cubicBezTo>
                    <a:pt x="1381" y="1819"/>
                    <a:pt x="1381" y="1812"/>
                    <a:pt x="1381" y="1805"/>
                  </a:cubicBezTo>
                  <a:cubicBezTo>
                    <a:pt x="1381" y="1805"/>
                    <a:pt x="1381" y="1805"/>
                    <a:pt x="1374" y="1805"/>
                  </a:cubicBezTo>
                  <a:cubicBezTo>
                    <a:pt x="1366" y="1782"/>
                    <a:pt x="1359" y="1768"/>
                    <a:pt x="1366" y="1738"/>
                  </a:cubicBezTo>
                  <a:cubicBezTo>
                    <a:pt x="1381" y="1738"/>
                    <a:pt x="1433" y="1753"/>
                    <a:pt x="1426" y="1715"/>
                  </a:cubicBezTo>
                  <a:cubicBezTo>
                    <a:pt x="1418" y="1723"/>
                    <a:pt x="1411" y="1715"/>
                    <a:pt x="1404" y="1715"/>
                  </a:cubicBezTo>
                  <a:cubicBezTo>
                    <a:pt x="1404" y="1678"/>
                    <a:pt x="1470" y="1597"/>
                    <a:pt x="1515" y="1611"/>
                  </a:cubicBezTo>
                  <a:cubicBezTo>
                    <a:pt x="1530" y="1619"/>
                    <a:pt x="1545" y="1649"/>
                    <a:pt x="1567" y="1641"/>
                  </a:cubicBezTo>
                  <a:cubicBezTo>
                    <a:pt x="1582" y="1641"/>
                    <a:pt x="1589" y="1597"/>
                    <a:pt x="1597" y="1582"/>
                  </a:cubicBezTo>
                  <a:cubicBezTo>
                    <a:pt x="1634" y="1552"/>
                    <a:pt x="1693" y="1589"/>
                    <a:pt x="1723" y="1537"/>
                  </a:cubicBezTo>
                  <a:cubicBezTo>
                    <a:pt x="1760" y="1537"/>
                    <a:pt x="1827" y="1552"/>
                    <a:pt x="1864" y="1567"/>
                  </a:cubicBezTo>
                  <a:cubicBezTo>
                    <a:pt x="1901" y="1582"/>
                    <a:pt x="1923" y="1582"/>
                    <a:pt x="1968" y="1582"/>
                  </a:cubicBezTo>
                  <a:cubicBezTo>
                    <a:pt x="2012" y="1582"/>
                    <a:pt x="2116" y="1597"/>
                    <a:pt x="2109" y="1663"/>
                  </a:cubicBezTo>
                  <a:cubicBezTo>
                    <a:pt x="2124" y="1663"/>
                    <a:pt x="2220" y="1671"/>
                    <a:pt x="2220" y="1656"/>
                  </a:cubicBezTo>
                  <a:cubicBezTo>
                    <a:pt x="2213" y="1634"/>
                    <a:pt x="2198" y="1611"/>
                    <a:pt x="2183" y="1589"/>
                  </a:cubicBezTo>
                  <a:cubicBezTo>
                    <a:pt x="2176" y="1574"/>
                    <a:pt x="2168" y="1530"/>
                    <a:pt x="2161" y="1485"/>
                  </a:cubicBezTo>
                  <a:cubicBezTo>
                    <a:pt x="2154" y="1485"/>
                    <a:pt x="2146" y="1478"/>
                    <a:pt x="2146" y="1470"/>
                  </a:cubicBezTo>
                  <a:cubicBezTo>
                    <a:pt x="2131" y="1448"/>
                    <a:pt x="2139" y="1411"/>
                    <a:pt x="2131" y="1381"/>
                  </a:cubicBezTo>
                  <a:cubicBezTo>
                    <a:pt x="2124" y="1389"/>
                    <a:pt x="2116" y="1389"/>
                    <a:pt x="2109" y="1396"/>
                  </a:cubicBezTo>
                  <a:cubicBezTo>
                    <a:pt x="2102" y="1403"/>
                    <a:pt x="2087" y="1314"/>
                    <a:pt x="2087" y="1307"/>
                  </a:cubicBezTo>
                  <a:cubicBezTo>
                    <a:pt x="2094" y="1285"/>
                    <a:pt x="2109" y="1277"/>
                    <a:pt x="2124" y="1255"/>
                  </a:cubicBezTo>
                  <a:cubicBezTo>
                    <a:pt x="2131" y="1233"/>
                    <a:pt x="2131" y="1188"/>
                    <a:pt x="2131" y="1158"/>
                  </a:cubicBezTo>
                  <a:cubicBezTo>
                    <a:pt x="2124" y="1084"/>
                    <a:pt x="2064" y="1032"/>
                    <a:pt x="2057" y="958"/>
                  </a:cubicBezTo>
                  <a:cubicBezTo>
                    <a:pt x="2057" y="951"/>
                    <a:pt x="2057" y="928"/>
                    <a:pt x="2049" y="921"/>
                  </a:cubicBezTo>
                  <a:cubicBezTo>
                    <a:pt x="2042" y="899"/>
                    <a:pt x="2035" y="913"/>
                    <a:pt x="2020" y="899"/>
                  </a:cubicBezTo>
                  <a:cubicBezTo>
                    <a:pt x="1998" y="884"/>
                    <a:pt x="2005" y="854"/>
                    <a:pt x="2005" y="832"/>
                  </a:cubicBezTo>
                  <a:cubicBezTo>
                    <a:pt x="2005" y="817"/>
                    <a:pt x="2012" y="802"/>
                    <a:pt x="2005" y="787"/>
                  </a:cubicBezTo>
                  <a:cubicBezTo>
                    <a:pt x="1990" y="765"/>
                    <a:pt x="1960" y="765"/>
                    <a:pt x="1953" y="743"/>
                  </a:cubicBezTo>
                  <a:cubicBezTo>
                    <a:pt x="1946" y="720"/>
                    <a:pt x="1968" y="713"/>
                    <a:pt x="1983" y="698"/>
                  </a:cubicBezTo>
                  <a:cubicBezTo>
                    <a:pt x="1983" y="691"/>
                    <a:pt x="1983" y="676"/>
                    <a:pt x="1983" y="668"/>
                  </a:cubicBezTo>
                  <a:cubicBezTo>
                    <a:pt x="1968" y="668"/>
                    <a:pt x="1953" y="668"/>
                    <a:pt x="1938" y="668"/>
                  </a:cubicBezTo>
                </a:path>
              </a:pathLst>
            </a:custGeom>
            <a:grpFill/>
            <a:ln w="6350" cap="flat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lIns="60927" tIns="30463" rIns="60927" bIns="30463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4" name="Freeform 16"/>
            <p:cNvSpPr>
              <a:spLocks noChangeArrowheads="1"/>
            </p:cNvSpPr>
            <p:nvPr/>
          </p:nvSpPr>
          <p:spPr bwMode="auto">
            <a:xfrm>
              <a:off x="11855156" y="7648312"/>
              <a:ext cx="1894927" cy="1510744"/>
            </a:xfrm>
            <a:custGeom>
              <a:avLst/>
              <a:gdLst>
                <a:gd name="T0" fmla="*/ 4143 w 4382"/>
                <a:gd name="T1" fmla="*/ 446 h 3499"/>
                <a:gd name="T2" fmla="*/ 3853 w 4382"/>
                <a:gd name="T3" fmla="*/ 267 h 3499"/>
                <a:gd name="T4" fmla="*/ 3801 w 4382"/>
                <a:gd name="T5" fmla="*/ 260 h 3499"/>
                <a:gd name="T6" fmla="*/ 3408 w 4382"/>
                <a:gd name="T7" fmla="*/ 59 h 3499"/>
                <a:gd name="T8" fmla="*/ 3282 w 4382"/>
                <a:gd name="T9" fmla="*/ 416 h 3499"/>
                <a:gd name="T10" fmla="*/ 2903 w 4382"/>
                <a:gd name="T11" fmla="*/ 297 h 3499"/>
                <a:gd name="T12" fmla="*/ 2702 w 4382"/>
                <a:gd name="T13" fmla="*/ 267 h 3499"/>
                <a:gd name="T14" fmla="*/ 2346 w 4382"/>
                <a:gd name="T15" fmla="*/ 97 h 3499"/>
                <a:gd name="T16" fmla="*/ 1975 w 4382"/>
                <a:gd name="T17" fmla="*/ 15 h 3499"/>
                <a:gd name="T18" fmla="*/ 1952 w 4382"/>
                <a:gd name="T19" fmla="*/ 22 h 3499"/>
                <a:gd name="T20" fmla="*/ 1618 w 4382"/>
                <a:gd name="T21" fmla="*/ 357 h 3499"/>
                <a:gd name="T22" fmla="*/ 1499 w 4382"/>
                <a:gd name="T23" fmla="*/ 683 h 3499"/>
                <a:gd name="T24" fmla="*/ 1373 w 4382"/>
                <a:gd name="T25" fmla="*/ 965 h 3499"/>
                <a:gd name="T26" fmla="*/ 950 w 4382"/>
                <a:gd name="T27" fmla="*/ 1002 h 3499"/>
                <a:gd name="T28" fmla="*/ 765 w 4382"/>
                <a:gd name="T29" fmla="*/ 1188 h 3499"/>
                <a:gd name="T30" fmla="*/ 795 w 4382"/>
                <a:gd name="T31" fmla="*/ 1730 h 3499"/>
                <a:gd name="T32" fmla="*/ 987 w 4382"/>
                <a:gd name="T33" fmla="*/ 1998 h 3499"/>
                <a:gd name="T34" fmla="*/ 706 w 4382"/>
                <a:gd name="T35" fmla="*/ 1901 h 3499"/>
                <a:gd name="T36" fmla="*/ 468 w 4382"/>
                <a:gd name="T37" fmla="*/ 1975 h 3499"/>
                <a:gd name="T38" fmla="*/ 594 w 4382"/>
                <a:gd name="T39" fmla="*/ 2309 h 3499"/>
                <a:gd name="T40" fmla="*/ 550 w 4382"/>
                <a:gd name="T41" fmla="*/ 2800 h 3499"/>
                <a:gd name="T42" fmla="*/ 372 w 4382"/>
                <a:gd name="T43" fmla="*/ 2963 h 3499"/>
                <a:gd name="T44" fmla="*/ 112 w 4382"/>
                <a:gd name="T45" fmla="*/ 3186 h 3499"/>
                <a:gd name="T46" fmla="*/ 134 w 4382"/>
                <a:gd name="T47" fmla="*/ 3483 h 3499"/>
                <a:gd name="T48" fmla="*/ 431 w 4382"/>
                <a:gd name="T49" fmla="*/ 3394 h 3499"/>
                <a:gd name="T50" fmla="*/ 676 w 4382"/>
                <a:gd name="T51" fmla="*/ 3349 h 3499"/>
                <a:gd name="T52" fmla="*/ 713 w 4382"/>
                <a:gd name="T53" fmla="*/ 3253 h 3499"/>
                <a:gd name="T54" fmla="*/ 728 w 4382"/>
                <a:gd name="T55" fmla="*/ 3067 h 3499"/>
                <a:gd name="T56" fmla="*/ 1031 w 4382"/>
                <a:gd name="T57" fmla="*/ 3126 h 3499"/>
                <a:gd name="T58" fmla="*/ 1224 w 4382"/>
                <a:gd name="T59" fmla="*/ 3104 h 3499"/>
                <a:gd name="T60" fmla="*/ 1195 w 4382"/>
                <a:gd name="T61" fmla="*/ 2941 h 3499"/>
                <a:gd name="T62" fmla="*/ 1410 w 4382"/>
                <a:gd name="T63" fmla="*/ 2807 h 3499"/>
                <a:gd name="T64" fmla="*/ 1514 w 4382"/>
                <a:gd name="T65" fmla="*/ 2703 h 3499"/>
                <a:gd name="T66" fmla="*/ 1626 w 4382"/>
                <a:gd name="T67" fmla="*/ 2547 h 3499"/>
                <a:gd name="T68" fmla="*/ 1796 w 4382"/>
                <a:gd name="T69" fmla="*/ 2770 h 3499"/>
                <a:gd name="T70" fmla="*/ 2116 w 4382"/>
                <a:gd name="T71" fmla="*/ 2807 h 3499"/>
                <a:gd name="T72" fmla="*/ 2234 w 4382"/>
                <a:gd name="T73" fmla="*/ 2658 h 3499"/>
                <a:gd name="T74" fmla="*/ 2450 w 4382"/>
                <a:gd name="T75" fmla="*/ 2614 h 3499"/>
                <a:gd name="T76" fmla="*/ 2628 w 4382"/>
                <a:gd name="T77" fmla="*/ 2354 h 3499"/>
                <a:gd name="T78" fmla="*/ 2858 w 4382"/>
                <a:gd name="T79" fmla="*/ 2183 h 3499"/>
                <a:gd name="T80" fmla="*/ 2784 w 4382"/>
                <a:gd name="T81" fmla="*/ 2131 h 3499"/>
                <a:gd name="T82" fmla="*/ 2702 w 4382"/>
                <a:gd name="T83" fmla="*/ 2220 h 3499"/>
                <a:gd name="T84" fmla="*/ 2999 w 4382"/>
                <a:gd name="T85" fmla="*/ 1998 h 3499"/>
                <a:gd name="T86" fmla="*/ 2895 w 4382"/>
                <a:gd name="T87" fmla="*/ 2153 h 3499"/>
                <a:gd name="T88" fmla="*/ 3445 w 4382"/>
                <a:gd name="T89" fmla="*/ 1975 h 3499"/>
                <a:gd name="T90" fmla="*/ 3846 w 4382"/>
                <a:gd name="T91" fmla="*/ 1671 h 3499"/>
                <a:gd name="T92" fmla="*/ 4069 w 4382"/>
                <a:gd name="T93" fmla="*/ 1314 h 3499"/>
                <a:gd name="T94" fmla="*/ 3980 w 4382"/>
                <a:gd name="T95" fmla="*/ 1351 h 3499"/>
                <a:gd name="T96" fmla="*/ 3980 w 4382"/>
                <a:gd name="T97" fmla="*/ 1196 h 3499"/>
                <a:gd name="T98" fmla="*/ 4098 w 4382"/>
                <a:gd name="T99" fmla="*/ 772 h 3499"/>
                <a:gd name="T100" fmla="*/ 4381 w 4382"/>
                <a:gd name="T101" fmla="*/ 698 h 3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382" h="3499">
                  <a:moveTo>
                    <a:pt x="4299" y="594"/>
                  </a:moveTo>
                  <a:lnTo>
                    <a:pt x="4299" y="594"/>
                  </a:lnTo>
                  <a:cubicBezTo>
                    <a:pt x="4262" y="564"/>
                    <a:pt x="4210" y="572"/>
                    <a:pt x="4195" y="520"/>
                  </a:cubicBezTo>
                  <a:cubicBezTo>
                    <a:pt x="4187" y="490"/>
                    <a:pt x="4187" y="438"/>
                    <a:pt x="4143" y="446"/>
                  </a:cubicBezTo>
                  <a:cubicBezTo>
                    <a:pt x="4121" y="490"/>
                    <a:pt x="4121" y="483"/>
                    <a:pt x="4084" y="497"/>
                  </a:cubicBezTo>
                  <a:cubicBezTo>
                    <a:pt x="4076" y="542"/>
                    <a:pt x="4032" y="512"/>
                    <a:pt x="4024" y="490"/>
                  </a:cubicBezTo>
                  <a:cubicBezTo>
                    <a:pt x="3995" y="446"/>
                    <a:pt x="4039" y="401"/>
                    <a:pt x="4002" y="357"/>
                  </a:cubicBezTo>
                  <a:cubicBezTo>
                    <a:pt x="3950" y="312"/>
                    <a:pt x="3876" y="357"/>
                    <a:pt x="3853" y="267"/>
                  </a:cubicBezTo>
                  <a:cubicBezTo>
                    <a:pt x="3846" y="267"/>
                    <a:pt x="3838" y="267"/>
                    <a:pt x="3831" y="260"/>
                  </a:cubicBezTo>
                  <a:lnTo>
                    <a:pt x="3831" y="260"/>
                  </a:lnTo>
                  <a:lnTo>
                    <a:pt x="3831" y="260"/>
                  </a:lnTo>
                  <a:cubicBezTo>
                    <a:pt x="3824" y="260"/>
                    <a:pt x="3816" y="260"/>
                    <a:pt x="3801" y="260"/>
                  </a:cubicBezTo>
                  <a:cubicBezTo>
                    <a:pt x="3816" y="186"/>
                    <a:pt x="3683" y="104"/>
                    <a:pt x="3660" y="193"/>
                  </a:cubicBezTo>
                  <a:cubicBezTo>
                    <a:pt x="3653" y="200"/>
                    <a:pt x="3638" y="200"/>
                    <a:pt x="3630" y="200"/>
                  </a:cubicBezTo>
                  <a:cubicBezTo>
                    <a:pt x="3638" y="171"/>
                    <a:pt x="3586" y="111"/>
                    <a:pt x="3564" y="89"/>
                  </a:cubicBezTo>
                  <a:cubicBezTo>
                    <a:pt x="3527" y="45"/>
                    <a:pt x="3460" y="67"/>
                    <a:pt x="3408" y="59"/>
                  </a:cubicBezTo>
                  <a:cubicBezTo>
                    <a:pt x="3415" y="0"/>
                    <a:pt x="3333" y="30"/>
                    <a:pt x="3296" y="37"/>
                  </a:cubicBezTo>
                  <a:cubicBezTo>
                    <a:pt x="3311" y="67"/>
                    <a:pt x="3393" y="193"/>
                    <a:pt x="3326" y="215"/>
                  </a:cubicBezTo>
                  <a:cubicBezTo>
                    <a:pt x="3319" y="252"/>
                    <a:pt x="3356" y="282"/>
                    <a:pt x="3348" y="327"/>
                  </a:cubicBezTo>
                  <a:cubicBezTo>
                    <a:pt x="3282" y="319"/>
                    <a:pt x="3304" y="386"/>
                    <a:pt x="3282" y="416"/>
                  </a:cubicBezTo>
                  <a:cubicBezTo>
                    <a:pt x="3244" y="423"/>
                    <a:pt x="3222" y="408"/>
                    <a:pt x="3193" y="401"/>
                  </a:cubicBezTo>
                  <a:cubicBezTo>
                    <a:pt x="3215" y="379"/>
                    <a:pt x="3237" y="349"/>
                    <a:pt x="3193" y="334"/>
                  </a:cubicBezTo>
                  <a:cubicBezTo>
                    <a:pt x="3148" y="379"/>
                    <a:pt x="3096" y="334"/>
                    <a:pt x="3051" y="312"/>
                  </a:cubicBezTo>
                  <a:cubicBezTo>
                    <a:pt x="3007" y="297"/>
                    <a:pt x="2947" y="275"/>
                    <a:pt x="2903" y="297"/>
                  </a:cubicBezTo>
                  <a:cubicBezTo>
                    <a:pt x="2866" y="312"/>
                    <a:pt x="2851" y="364"/>
                    <a:pt x="2806" y="371"/>
                  </a:cubicBezTo>
                  <a:cubicBezTo>
                    <a:pt x="2747" y="379"/>
                    <a:pt x="2695" y="334"/>
                    <a:pt x="2643" y="327"/>
                  </a:cubicBezTo>
                  <a:cubicBezTo>
                    <a:pt x="2650" y="304"/>
                    <a:pt x="2688" y="304"/>
                    <a:pt x="2688" y="275"/>
                  </a:cubicBezTo>
                  <a:cubicBezTo>
                    <a:pt x="2695" y="267"/>
                    <a:pt x="2695" y="267"/>
                    <a:pt x="2702" y="267"/>
                  </a:cubicBezTo>
                  <a:cubicBezTo>
                    <a:pt x="2710" y="193"/>
                    <a:pt x="2710" y="111"/>
                    <a:pt x="2702" y="37"/>
                  </a:cubicBezTo>
                  <a:cubicBezTo>
                    <a:pt x="2665" y="30"/>
                    <a:pt x="2636" y="59"/>
                    <a:pt x="2606" y="74"/>
                  </a:cubicBezTo>
                  <a:cubicBezTo>
                    <a:pt x="2569" y="89"/>
                    <a:pt x="2531" y="97"/>
                    <a:pt x="2494" y="104"/>
                  </a:cubicBezTo>
                  <a:cubicBezTo>
                    <a:pt x="2442" y="111"/>
                    <a:pt x="2398" y="89"/>
                    <a:pt x="2346" y="97"/>
                  </a:cubicBezTo>
                  <a:cubicBezTo>
                    <a:pt x="2316" y="104"/>
                    <a:pt x="2294" y="119"/>
                    <a:pt x="2272" y="134"/>
                  </a:cubicBezTo>
                  <a:cubicBezTo>
                    <a:pt x="2212" y="163"/>
                    <a:pt x="2093" y="148"/>
                    <a:pt x="2056" y="104"/>
                  </a:cubicBezTo>
                  <a:cubicBezTo>
                    <a:pt x="2034" y="82"/>
                    <a:pt x="2034" y="45"/>
                    <a:pt x="2012" y="30"/>
                  </a:cubicBezTo>
                  <a:cubicBezTo>
                    <a:pt x="2004" y="15"/>
                    <a:pt x="1989" y="15"/>
                    <a:pt x="1975" y="15"/>
                  </a:cubicBezTo>
                  <a:lnTo>
                    <a:pt x="1975" y="15"/>
                  </a:lnTo>
                  <a:lnTo>
                    <a:pt x="1975" y="15"/>
                  </a:lnTo>
                  <a:cubicBezTo>
                    <a:pt x="1960" y="15"/>
                    <a:pt x="1952" y="15"/>
                    <a:pt x="1937" y="15"/>
                  </a:cubicBezTo>
                  <a:cubicBezTo>
                    <a:pt x="1937" y="15"/>
                    <a:pt x="1945" y="15"/>
                    <a:pt x="1952" y="22"/>
                  </a:cubicBezTo>
                  <a:cubicBezTo>
                    <a:pt x="1952" y="97"/>
                    <a:pt x="1960" y="126"/>
                    <a:pt x="1871" y="148"/>
                  </a:cubicBezTo>
                  <a:cubicBezTo>
                    <a:pt x="1826" y="156"/>
                    <a:pt x="1759" y="215"/>
                    <a:pt x="1722" y="245"/>
                  </a:cubicBezTo>
                  <a:cubicBezTo>
                    <a:pt x="1700" y="252"/>
                    <a:pt x="1655" y="282"/>
                    <a:pt x="1655" y="312"/>
                  </a:cubicBezTo>
                  <a:cubicBezTo>
                    <a:pt x="1655" y="349"/>
                    <a:pt x="1633" y="327"/>
                    <a:pt x="1618" y="357"/>
                  </a:cubicBezTo>
                  <a:cubicBezTo>
                    <a:pt x="1588" y="416"/>
                    <a:pt x="1640" y="438"/>
                    <a:pt x="1663" y="483"/>
                  </a:cubicBezTo>
                  <a:cubicBezTo>
                    <a:pt x="1611" y="512"/>
                    <a:pt x="1581" y="527"/>
                    <a:pt x="1566" y="587"/>
                  </a:cubicBezTo>
                  <a:cubicBezTo>
                    <a:pt x="1544" y="594"/>
                    <a:pt x="1559" y="616"/>
                    <a:pt x="1551" y="639"/>
                  </a:cubicBezTo>
                  <a:cubicBezTo>
                    <a:pt x="1551" y="654"/>
                    <a:pt x="1514" y="661"/>
                    <a:pt x="1499" y="683"/>
                  </a:cubicBezTo>
                  <a:cubicBezTo>
                    <a:pt x="1477" y="713"/>
                    <a:pt x="1470" y="765"/>
                    <a:pt x="1477" y="802"/>
                  </a:cubicBezTo>
                  <a:cubicBezTo>
                    <a:pt x="1477" y="832"/>
                    <a:pt x="1514" y="847"/>
                    <a:pt x="1507" y="876"/>
                  </a:cubicBezTo>
                  <a:cubicBezTo>
                    <a:pt x="1470" y="876"/>
                    <a:pt x="1403" y="861"/>
                    <a:pt x="1381" y="899"/>
                  </a:cubicBezTo>
                  <a:cubicBezTo>
                    <a:pt x="1366" y="913"/>
                    <a:pt x="1381" y="943"/>
                    <a:pt x="1373" y="965"/>
                  </a:cubicBezTo>
                  <a:cubicBezTo>
                    <a:pt x="1366" y="995"/>
                    <a:pt x="1351" y="1017"/>
                    <a:pt x="1343" y="1040"/>
                  </a:cubicBezTo>
                  <a:cubicBezTo>
                    <a:pt x="1314" y="1040"/>
                    <a:pt x="1291" y="1047"/>
                    <a:pt x="1269" y="1025"/>
                  </a:cubicBezTo>
                  <a:cubicBezTo>
                    <a:pt x="1247" y="1002"/>
                    <a:pt x="1202" y="1010"/>
                    <a:pt x="1180" y="1010"/>
                  </a:cubicBezTo>
                  <a:cubicBezTo>
                    <a:pt x="1106" y="1010"/>
                    <a:pt x="1024" y="995"/>
                    <a:pt x="950" y="1002"/>
                  </a:cubicBezTo>
                  <a:cubicBezTo>
                    <a:pt x="950" y="1069"/>
                    <a:pt x="928" y="1129"/>
                    <a:pt x="899" y="1188"/>
                  </a:cubicBezTo>
                  <a:cubicBezTo>
                    <a:pt x="884" y="1203"/>
                    <a:pt x="869" y="1240"/>
                    <a:pt x="854" y="1248"/>
                  </a:cubicBezTo>
                  <a:cubicBezTo>
                    <a:pt x="817" y="1255"/>
                    <a:pt x="802" y="1225"/>
                    <a:pt x="802" y="1196"/>
                  </a:cubicBezTo>
                  <a:cubicBezTo>
                    <a:pt x="787" y="1188"/>
                    <a:pt x="773" y="1188"/>
                    <a:pt x="765" y="1188"/>
                  </a:cubicBezTo>
                  <a:cubicBezTo>
                    <a:pt x="758" y="1262"/>
                    <a:pt x="750" y="1344"/>
                    <a:pt x="758" y="1418"/>
                  </a:cubicBezTo>
                  <a:cubicBezTo>
                    <a:pt x="758" y="1448"/>
                    <a:pt x="750" y="1470"/>
                    <a:pt x="758" y="1500"/>
                  </a:cubicBezTo>
                  <a:cubicBezTo>
                    <a:pt x="758" y="1522"/>
                    <a:pt x="787" y="1515"/>
                    <a:pt x="795" y="1530"/>
                  </a:cubicBezTo>
                  <a:cubicBezTo>
                    <a:pt x="839" y="1589"/>
                    <a:pt x="802" y="1663"/>
                    <a:pt x="795" y="1730"/>
                  </a:cubicBezTo>
                  <a:cubicBezTo>
                    <a:pt x="787" y="1760"/>
                    <a:pt x="780" y="1797"/>
                    <a:pt x="780" y="1834"/>
                  </a:cubicBezTo>
                  <a:cubicBezTo>
                    <a:pt x="787" y="1871"/>
                    <a:pt x="847" y="1879"/>
                    <a:pt x="877" y="1886"/>
                  </a:cubicBezTo>
                  <a:cubicBezTo>
                    <a:pt x="884" y="1886"/>
                    <a:pt x="979" y="1879"/>
                    <a:pt x="979" y="1886"/>
                  </a:cubicBezTo>
                  <a:cubicBezTo>
                    <a:pt x="1002" y="1916"/>
                    <a:pt x="987" y="1961"/>
                    <a:pt x="987" y="1998"/>
                  </a:cubicBezTo>
                  <a:cubicBezTo>
                    <a:pt x="965" y="2012"/>
                    <a:pt x="950" y="2042"/>
                    <a:pt x="914" y="2035"/>
                  </a:cubicBezTo>
                  <a:cubicBezTo>
                    <a:pt x="914" y="2012"/>
                    <a:pt x="914" y="1983"/>
                    <a:pt x="914" y="1961"/>
                  </a:cubicBezTo>
                  <a:cubicBezTo>
                    <a:pt x="877" y="1946"/>
                    <a:pt x="758" y="1923"/>
                    <a:pt x="765" y="1990"/>
                  </a:cubicBezTo>
                  <a:cubicBezTo>
                    <a:pt x="706" y="2005"/>
                    <a:pt x="706" y="1938"/>
                    <a:pt x="706" y="1901"/>
                  </a:cubicBezTo>
                  <a:cubicBezTo>
                    <a:pt x="639" y="1856"/>
                    <a:pt x="587" y="1842"/>
                    <a:pt x="505" y="1842"/>
                  </a:cubicBezTo>
                  <a:cubicBezTo>
                    <a:pt x="513" y="1790"/>
                    <a:pt x="453" y="1804"/>
                    <a:pt x="423" y="1804"/>
                  </a:cubicBezTo>
                  <a:cubicBezTo>
                    <a:pt x="423" y="1864"/>
                    <a:pt x="372" y="1916"/>
                    <a:pt x="409" y="1975"/>
                  </a:cubicBezTo>
                  <a:cubicBezTo>
                    <a:pt x="423" y="1975"/>
                    <a:pt x="446" y="1975"/>
                    <a:pt x="468" y="1975"/>
                  </a:cubicBezTo>
                  <a:cubicBezTo>
                    <a:pt x="468" y="2027"/>
                    <a:pt x="528" y="1998"/>
                    <a:pt x="542" y="2042"/>
                  </a:cubicBezTo>
                  <a:cubicBezTo>
                    <a:pt x="565" y="2109"/>
                    <a:pt x="498" y="2168"/>
                    <a:pt x="498" y="2235"/>
                  </a:cubicBezTo>
                  <a:cubicBezTo>
                    <a:pt x="513" y="2235"/>
                    <a:pt x="535" y="2243"/>
                    <a:pt x="542" y="2243"/>
                  </a:cubicBezTo>
                  <a:cubicBezTo>
                    <a:pt x="550" y="2272"/>
                    <a:pt x="587" y="2280"/>
                    <a:pt x="594" y="2309"/>
                  </a:cubicBezTo>
                  <a:cubicBezTo>
                    <a:pt x="617" y="2339"/>
                    <a:pt x="602" y="2384"/>
                    <a:pt x="602" y="2421"/>
                  </a:cubicBezTo>
                  <a:cubicBezTo>
                    <a:pt x="602" y="2510"/>
                    <a:pt x="639" y="2592"/>
                    <a:pt x="624" y="2688"/>
                  </a:cubicBezTo>
                  <a:cubicBezTo>
                    <a:pt x="609" y="2688"/>
                    <a:pt x="594" y="2688"/>
                    <a:pt x="572" y="2688"/>
                  </a:cubicBezTo>
                  <a:cubicBezTo>
                    <a:pt x="580" y="2718"/>
                    <a:pt x="580" y="2777"/>
                    <a:pt x="550" y="2800"/>
                  </a:cubicBezTo>
                  <a:cubicBezTo>
                    <a:pt x="528" y="2822"/>
                    <a:pt x="483" y="2800"/>
                    <a:pt x="475" y="2852"/>
                  </a:cubicBezTo>
                  <a:cubicBezTo>
                    <a:pt x="446" y="2852"/>
                    <a:pt x="416" y="2852"/>
                    <a:pt x="386" y="2859"/>
                  </a:cubicBezTo>
                  <a:cubicBezTo>
                    <a:pt x="431" y="2889"/>
                    <a:pt x="438" y="2903"/>
                    <a:pt x="431" y="2955"/>
                  </a:cubicBezTo>
                  <a:cubicBezTo>
                    <a:pt x="409" y="2955"/>
                    <a:pt x="394" y="2963"/>
                    <a:pt x="372" y="2963"/>
                  </a:cubicBezTo>
                  <a:cubicBezTo>
                    <a:pt x="327" y="3000"/>
                    <a:pt x="327" y="3082"/>
                    <a:pt x="268" y="3111"/>
                  </a:cubicBezTo>
                  <a:cubicBezTo>
                    <a:pt x="253" y="3119"/>
                    <a:pt x="230" y="3104"/>
                    <a:pt x="215" y="3111"/>
                  </a:cubicBezTo>
                  <a:cubicBezTo>
                    <a:pt x="201" y="3119"/>
                    <a:pt x="193" y="3126"/>
                    <a:pt x="178" y="3134"/>
                  </a:cubicBezTo>
                  <a:cubicBezTo>
                    <a:pt x="156" y="3156"/>
                    <a:pt x="141" y="3178"/>
                    <a:pt x="112" y="3186"/>
                  </a:cubicBezTo>
                  <a:cubicBezTo>
                    <a:pt x="104" y="3238"/>
                    <a:pt x="104" y="3297"/>
                    <a:pt x="67" y="3342"/>
                  </a:cubicBezTo>
                  <a:cubicBezTo>
                    <a:pt x="37" y="3386"/>
                    <a:pt x="0" y="3408"/>
                    <a:pt x="0" y="3468"/>
                  </a:cubicBezTo>
                  <a:cubicBezTo>
                    <a:pt x="0" y="3468"/>
                    <a:pt x="0" y="3483"/>
                    <a:pt x="0" y="3498"/>
                  </a:cubicBezTo>
                  <a:cubicBezTo>
                    <a:pt x="45" y="3490"/>
                    <a:pt x="89" y="3483"/>
                    <a:pt x="134" y="3483"/>
                  </a:cubicBezTo>
                  <a:cubicBezTo>
                    <a:pt x="178" y="3490"/>
                    <a:pt x="193" y="3475"/>
                    <a:pt x="230" y="3468"/>
                  </a:cubicBezTo>
                  <a:cubicBezTo>
                    <a:pt x="245" y="3460"/>
                    <a:pt x="268" y="3468"/>
                    <a:pt x="290" y="3468"/>
                  </a:cubicBezTo>
                  <a:cubicBezTo>
                    <a:pt x="305" y="3468"/>
                    <a:pt x="320" y="3453"/>
                    <a:pt x="342" y="3453"/>
                  </a:cubicBezTo>
                  <a:cubicBezTo>
                    <a:pt x="349" y="3386"/>
                    <a:pt x="379" y="3401"/>
                    <a:pt x="431" y="3394"/>
                  </a:cubicBezTo>
                  <a:cubicBezTo>
                    <a:pt x="475" y="3386"/>
                    <a:pt x="490" y="3327"/>
                    <a:pt x="542" y="3334"/>
                  </a:cubicBezTo>
                  <a:cubicBezTo>
                    <a:pt x="565" y="3334"/>
                    <a:pt x="594" y="3334"/>
                    <a:pt x="609" y="3357"/>
                  </a:cubicBezTo>
                  <a:cubicBezTo>
                    <a:pt x="617" y="3371"/>
                    <a:pt x="617" y="3394"/>
                    <a:pt x="639" y="3394"/>
                  </a:cubicBezTo>
                  <a:cubicBezTo>
                    <a:pt x="676" y="3401"/>
                    <a:pt x="669" y="3371"/>
                    <a:pt x="676" y="3349"/>
                  </a:cubicBezTo>
                  <a:cubicBezTo>
                    <a:pt x="691" y="3327"/>
                    <a:pt x="698" y="3342"/>
                    <a:pt x="720" y="3334"/>
                  </a:cubicBezTo>
                  <a:cubicBezTo>
                    <a:pt x="720" y="3319"/>
                    <a:pt x="713" y="3290"/>
                    <a:pt x="743" y="3290"/>
                  </a:cubicBezTo>
                  <a:cubicBezTo>
                    <a:pt x="743" y="3282"/>
                    <a:pt x="743" y="3268"/>
                    <a:pt x="743" y="3260"/>
                  </a:cubicBezTo>
                  <a:cubicBezTo>
                    <a:pt x="728" y="3260"/>
                    <a:pt x="720" y="3253"/>
                    <a:pt x="713" y="3253"/>
                  </a:cubicBezTo>
                  <a:cubicBezTo>
                    <a:pt x="713" y="3230"/>
                    <a:pt x="706" y="3193"/>
                    <a:pt x="728" y="3186"/>
                  </a:cubicBezTo>
                  <a:cubicBezTo>
                    <a:pt x="743" y="3178"/>
                    <a:pt x="750" y="3171"/>
                    <a:pt x="750" y="3156"/>
                  </a:cubicBezTo>
                  <a:cubicBezTo>
                    <a:pt x="743" y="3156"/>
                    <a:pt x="743" y="3156"/>
                    <a:pt x="735" y="3156"/>
                  </a:cubicBezTo>
                  <a:cubicBezTo>
                    <a:pt x="743" y="3126"/>
                    <a:pt x="720" y="3097"/>
                    <a:pt x="728" y="3067"/>
                  </a:cubicBezTo>
                  <a:cubicBezTo>
                    <a:pt x="773" y="3060"/>
                    <a:pt x="787" y="3037"/>
                    <a:pt x="817" y="3000"/>
                  </a:cubicBezTo>
                  <a:cubicBezTo>
                    <a:pt x="869" y="3015"/>
                    <a:pt x="891" y="3082"/>
                    <a:pt x="906" y="3126"/>
                  </a:cubicBezTo>
                  <a:cubicBezTo>
                    <a:pt x="942" y="3134"/>
                    <a:pt x="899" y="3163"/>
                    <a:pt x="884" y="3171"/>
                  </a:cubicBezTo>
                  <a:cubicBezTo>
                    <a:pt x="899" y="3260"/>
                    <a:pt x="987" y="3119"/>
                    <a:pt x="1031" y="3126"/>
                  </a:cubicBezTo>
                  <a:cubicBezTo>
                    <a:pt x="1031" y="3111"/>
                    <a:pt x="1031" y="3089"/>
                    <a:pt x="1031" y="3074"/>
                  </a:cubicBezTo>
                  <a:cubicBezTo>
                    <a:pt x="1061" y="3074"/>
                    <a:pt x="1084" y="3074"/>
                    <a:pt x="1098" y="3097"/>
                  </a:cubicBezTo>
                  <a:cubicBezTo>
                    <a:pt x="1106" y="3119"/>
                    <a:pt x="1121" y="3141"/>
                    <a:pt x="1143" y="3141"/>
                  </a:cubicBezTo>
                  <a:cubicBezTo>
                    <a:pt x="1173" y="3141"/>
                    <a:pt x="1187" y="3097"/>
                    <a:pt x="1224" y="3104"/>
                  </a:cubicBezTo>
                  <a:cubicBezTo>
                    <a:pt x="1224" y="3089"/>
                    <a:pt x="1224" y="3089"/>
                    <a:pt x="1210" y="3082"/>
                  </a:cubicBezTo>
                  <a:cubicBezTo>
                    <a:pt x="1210" y="3052"/>
                    <a:pt x="1217" y="3030"/>
                    <a:pt x="1247" y="3037"/>
                  </a:cubicBezTo>
                  <a:cubicBezTo>
                    <a:pt x="1254" y="3022"/>
                    <a:pt x="1254" y="3000"/>
                    <a:pt x="1232" y="3000"/>
                  </a:cubicBezTo>
                  <a:cubicBezTo>
                    <a:pt x="1232" y="2970"/>
                    <a:pt x="1187" y="2978"/>
                    <a:pt x="1195" y="2941"/>
                  </a:cubicBezTo>
                  <a:cubicBezTo>
                    <a:pt x="1195" y="2911"/>
                    <a:pt x="1210" y="2903"/>
                    <a:pt x="1232" y="2896"/>
                  </a:cubicBezTo>
                  <a:cubicBezTo>
                    <a:pt x="1276" y="2889"/>
                    <a:pt x="1247" y="2829"/>
                    <a:pt x="1262" y="2822"/>
                  </a:cubicBezTo>
                  <a:cubicBezTo>
                    <a:pt x="1284" y="2814"/>
                    <a:pt x="1306" y="2829"/>
                    <a:pt x="1329" y="2829"/>
                  </a:cubicBezTo>
                  <a:cubicBezTo>
                    <a:pt x="1358" y="2822"/>
                    <a:pt x="1381" y="2814"/>
                    <a:pt x="1410" y="2807"/>
                  </a:cubicBezTo>
                  <a:cubicBezTo>
                    <a:pt x="1432" y="2792"/>
                    <a:pt x="1455" y="2740"/>
                    <a:pt x="1477" y="2733"/>
                  </a:cubicBezTo>
                  <a:cubicBezTo>
                    <a:pt x="1470" y="2733"/>
                    <a:pt x="1462" y="2733"/>
                    <a:pt x="1462" y="2733"/>
                  </a:cubicBezTo>
                  <a:cubicBezTo>
                    <a:pt x="1455" y="2710"/>
                    <a:pt x="1388" y="2696"/>
                    <a:pt x="1418" y="2673"/>
                  </a:cubicBezTo>
                  <a:cubicBezTo>
                    <a:pt x="1470" y="2629"/>
                    <a:pt x="1477" y="2681"/>
                    <a:pt x="1514" y="2703"/>
                  </a:cubicBezTo>
                  <a:cubicBezTo>
                    <a:pt x="1514" y="2673"/>
                    <a:pt x="1521" y="2629"/>
                    <a:pt x="1536" y="2606"/>
                  </a:cubicBezTo>
                  <a:cubicBezTo>
                    <a:pt x="1551" y="2614"/>
                    <a:pt x="1551" y="2636"/>
                    <a:pt x="1559" y="2658"/>
                  </a:cubicBezTo>
                  <a:cubicBezTo>
                    <a:pt x="1566" y="2651"/>
                    <a:pt x="1574" y="2636"/>
                    <a:pt x="1581" y="2629"/>
                  </a:cubicBezTo>
                  <a:cubicBezTo>
                    <a:pt x="1626" y="2666"/>
                    <a:pt x="1626" y="2577"/>
                    <a:pt x="1626" y="2547"/>
                  </a:cubicBezTo>
                  <a:cubicBezTo>
                    <a:pt x="1633" y="2547"/>
                    <a:pt x="1640" y="2555"/>
                    <a:pt x="1648" y="2555"/>
                  </a:cubicBezTo>
                  <a:cubicBezTo>
                    <a:pt x="1640" y="2592"/>
                    <a:pt x="1678" y="2666"/>
                    <a:pt x="1715" y="2658"/>
                  </a:cubicBezTo>
                  <a:cubicBezTo>
                    <a:pt x="1715" y="2644"/>
                    <a:pt x="1729" y="2644"/>
                    <a:pt x="1744" y="2644"/>
                  </a:cubicBezTo>
                  <a:cubicBezTo>
                    <a:pt x="1759" y="2688"/>
                    <a:pt x="1789" y="2718"/>
                    <a:pt x="1796" y="2770"/>
                  </a:cubicBezTo>
                  <a:cubicBezTo>
                    <a:pt x="1804" y="2807"/>
                    <a:pt x="1848" y="2792"/>
                    <a:pt x="1871" y="2792"/>
                  </a:cubicBezTo>
                  <a:cubicBezTo>
                    <a:pt x="1923" y="2792"/>
                    <a:pt x="1945" y="2814"/>
                    <a:pt x="1989" y="2829"/>
                  </a:cubicBezTo>
                  <a:cubicBezTo>
                    <a:pt x="2026" y="2844"/>
                    <a:pt x="2071" y="2837"/>
                    <a:pt x="2108" y="2837"/>
                  </a:cubicBezTo>
                  <a:cubicBezTo>
                    <a:pt x="2108" y="2829"/>
                    <a:pt x="2116" y="2814"/>
                    <a:pt x="2116" y="2807"/>
                  </a:cubicBezTo>
                  <a:cubicBezTo>
                    <a:pt x="2160" y="2807"/>
                    <a:pt x="2153" y="2748"/>
                    <a:pt x="2205" y="2748"/>
                  </a:cubicBezTo>
                  <a:cubicBezTo>
                    <a:pt x="2205" y="2740"/>
                    <a:pt x="2168" y="2696"/>
                    <a:pt x="2175" y="2688"/>
                  </a:cubicBezTo>
                  <a:cubicBezTo>
                    <a:pt x="2183" y="2681"/>
                    <a:pt x="2197" y="2688"/>
                    <a:pt x="2205" y="2688"/>
                  </a:cubicBezTo>
                  <a:cubicBezTo>
                    <a:pt x="2220" y="2681"/>
                    <a:pt x="2227" y="2673"/>
                    <a:pt x="2234" y="2658"/>
                  </a:cubicBezTo>
                  <a:cubicBezTo>
                    <a:pt x="2264" y="2636"/>
                    <a:pt x="2353" y="2651"/>
                    <a:pt x="2346" y="2614"/>
                  </a:cubicBezTo>
                  <a:cubicBezTo>
                    <a:pt x="2331" y="2614"/>
                    <a:pt x="2316" y="2599"/>
                    <a:pt x="2323" y="2584"/>
                  </a:cubicBezTo>
                  <a:cubicBezTo>
                    <a:pt x="2353" y="2569"/>
                    <a:pt x="2361" y="2562"/>
                    <a:pt x="2398" y="2562"/>
                  </a:cubicBezTo>
                  <a:cubicBezTo>
                    <a:pt x="2398" y="2584"/>
                    <a:pt x="2420" y="2599"/>
                    <a:pt x="2450" y="2614"/>
                  </a:cubicBezTo>
                  <a:cubicBezTo>
                    <a:pt x="2450" y="2606"/>
                    <a:pt x="2450" y="2592"/>
                    <a:pt x="2457" y="2584"/>
                  </a:cubicBezTo>
                  <a:cubicBezTo>
                    <a:pt x="2472" y="2547"/>
                    <a:pt x="2517" y="2532"/>
                    <a:pt x="2539" y="2503"/>
                  </a:cubicBezTo>
                  <a:cubicBezTo>
                    <a:pt x="2546" y="2480"/>
                    <a:pt x="2554" y="2458"/>
                    <a:pt x="2569" y="2436"/>
                  </a:cubicBezTo>
                  <a:cubicBezTo>
                    <a:pt x="2591" y="2413"/>
                    <a:pt x="2606" y="2376"/>
                    <a:pt x="2628" y="2354"/>
                  </a:cubicBezTo>
                  <a:cubicBezTo>
                    <a:pt x="2650" y="2332"/>
                    <a:pt x="2688" y="2324"/>
                    <a:pt x="2717" y="2302"/>
                  </a:cubicBezTo>
                  <a:cubicBezTo>
                    <a:pt x="2739" y="2280"/>
                    <a:pt x="2739" y="2258"/>
                    <a:pt x="2777" y="2243"/>
                  </a:cubicBezTo>
                  <a:cubicBezTo>
                    <a:pt x="2806" y="2228"/>
                    <a:pt x="2821" y="2206"/>
                    <a:pt x="2858" y="2198"/>
                  </a:cubicBezTo>
                  <a:cubicBezTo>
                    <a:pt x="2858" y="2191"/>
                    <a:pt x="2858" y="2183"/>
                    <a:pt x="2858" y="2183"/>
                  </a:cubicBezTo>
                  <a:cubicBezTo>
                    <a:pt x="2843" y="2183"/>
                    <a:pt x="2828" y="2176"/>
                    <a:pt x="2821" y="2176"/>
                  </a:cubicBezTo>
                  <a:cubicBezTo>
                    <a:pt x="2806" y="2198"/>
                    <a:pt x="2784" y="2183"/>
                    <a:pt x="2769" y="2191"/>
                  </a:cubicBezTo>
                  <a:cubicBezTo>
                    <a:pt x="2777" y="2168"/>
                    <a:pt x="2806" y="2161"/>
                    <a:pt x="2814" y="2146"/>
                  </a:cubicBezTo>
                  <a:cubicBezTo>
                    <a:pt x="2806" y="2139"/>
                    <a:pt x="2791" y="2139"/>
                    <a:pt x="2784" y="2131"/>
                  </a:cubicBezTo>
                  <a:cubicBezTo>
                    <a:pt x="2777" y="2153"/>
                    <a:pt x="2754" y="2191"/>
                    <a:pt x="2732" y="2206"/>
                  </a:cubicBezTo>
                  <a:cubicBezTo>
                    <a:pt x="2725" y="2213"/>
                    <a:pt x="2717" y="2220"/>
                    <a:pt x="2702" y="2220"/>
                  </a:cubicBezTo>
                  <a:cubicBezTo>
                    <a:pt x="2702" y="2228"/>
                    <a:pt x="2688" y="2235"/>
                    <a:pt x="2680" y="2235"/>
                  </a:cubicBezTo>
                  <a:cubicBezTo>
                    <a:pt x="2688" y="2228"/>
                    <a:pt x="2695" y="2228"/>
                    <a:pt x="2702" y="2220"/>
                  </a:cubicBezTo>
                  <a:cubicBezTo>
                    <a:pt x="2725" y="2198"/>
                    <a:pt x="2717" y="2146"/>
                    <a:pt x="2725" y="2124"/>
                  </a:cubicBezTo>
                  <a:cubicBezTo>
                    <a:pt x="2732" y="2109"/>
                    <a:pt x="2754" y="2087"/>
                    <a:pt x="2762" y="2072"/>
                  </a:cubicBezTo>
                  <a:cubicBezTo>
                    <a:pt x="2791" y="2042"/>
                    <a:pt x="2836" y="2035"/>
                    <a:pt x="2866" y="2012"/>
                  </a:cubicBezTo>
                  <a:cubicBezTo>
                    <a:pt x="2903" y="1990"/>
                    <a:pt x="2962" y="1938"/>
                    <a:pt x="2999" y="1998"/>
                  </a:cubicBezTo>
                  <a:cubicBezTo>
                    <a:pt x="3029" y="2035"/>
                    <a:pt x="2985" y="2064"/>
                    <a:pt x="2962" y="2087"/>
                  </a:cubicBezTo>
                  <a:cubicBezTo>
                    <a:pt x="2955" y="2094"/>
                    <a:pt x="2866" y="2139"/>
                    <a:pt x="2866" y="2131"/>
                  </a:cubicBezTo>
                  <a:cubicBezTo>
                    <a:pt x="2858" y="2146"/>
                    <a:pt x="2858" y="2161"/>
                    <a:pt x="2858" y="2176"/>
                  </a:cubicBezTo>
                  <a:cubicBezTo>
                    <a:pt x="2888" y="2183"/>
                    <a:pt x="2881" y="2161"/>
                    <a:pt x="2895" y="2153"/>
                  </a:cubicBezTo>
                  <a:cubicBezTo>
                    <a:pt x="2910" y="2146"/>
                    <a:pt x="2933" y="2139"/>
                    <a:pt x="2955" y="2131"/>
                  </a:cubicBezTo>
                  <a:cubicBezTo>
                    <a:pt x="2985" y="2124"/>
                    <a:pt x="3022" y="2124"/>
                    <a:pt x="3051" y="2109"/>
                  </a:cubicBezTo>
                  <a:cubicBezTo>
                    <a:pt x="3111" y="2079"/>
                    <a:pt x="3178" y="2050"/>
                    <a:pt x="3237" y="2027"/>
                  </a:cubicBezTo>
                  <a:cubicBezTo>
                    <a:pt x="3304" y="1998"/>
                    <a:pt x="3378" y="2005"/>
                    <a:pt x="3445" y="1975"/>
                  </a:cubicBezTo>
                  <a:cubicBezTo>
                    <a:pt x="3497" y="1946"/>
                    <a:pt x="3564" y="1931"/>
                    <a:pt x="3586" y="1864"/>
                  </a:cubicBezTo>
                  <a:cubicBezTo>
                    <a:pt x="3593" y="1834"/>
                    <a:pt x="3601" y="1790"/>
                    <a:pt x="3638" y="1790"/>
                  </a:cubicBezTo>
                  <a:cubicBezTo>
                    <a:pt x="3645" y="1745"/>
                    <a:pt x="3742" y="1723"/>
                    <a:pt x="3779" y="1701"/>
                  </a:cubicBezTo>
                  <a:cubicBezTo>
                    <a:pt x="3794" y="1693"/>
                    <a:pt x="3831" y="1678"/>
                    <a:pt x="3846" y="1671"/>
                  </a:cubicBezTo>
                  <a:cubicBezTo>
                    <a:pt x="3868" y="1649"/>
                    <a:pt x="3868" y="1604"/>
                    <a:pt x="3868" y="1582"/>
                  </a:cubicBezTo>
                  <a:cubicBezTo>
                    <a:pt x="3853" y="1582"/>
                    <a:pt x="3838" y="1582"/>
                    <a:pt x="3824" y="1582"/>
                  </a:cubicBezTo>
                  <a:cubicBezTo>
                    <a:pt x="3816" y="1515"/>
                    <a:pt x="3898" y="1485"/>
                    <a:pt x="3942" y="1456"/>
                  </a:cubicBezTo>
                  <a:cubicBezTo>
                    <a:pt x="3995" y="1426"/>
                    <a:pt x="4046" y="1366"/>
                    <a:pt x="4069" y="1314"/>
                  </a:cubicBezTo>
                  <a:cubicBezTo>
                    <a:pt x="4061" y="1314"/>
                    <a:pt x="4046" y="1314"/>
                    <a:pt x="4039" y="1314"/>
                  </a:cubicBezTo>
                  <a:cubicBezTo>
                    <a:pt x="4024" y="1314"/>
                    <a:pt x="4032" y="1329"/>
                    <a:pt x="4024" y="1329"/>
                  </a:cubicBezTo>
                  <a:cubicBezTo>
                    <a:pt x="4017" y="1337"/>
                    <a:pt x="4002" y="1329"/>
                    <a:pt x="4002" y="1337"/>
                  </a:cubicBezTo>
                  <a:cubicBezTo>
                    <a:pt x="3995" y="1337"/>
                    <a:pt x="3987" y="1351"/>
                    <a:pt x="3980" y="1351"/>
                  </a:cubicBezTo>
                  <a:cubicBezTo>
                    <a:pt x="3957" y="1359"/>
                    <a:pt x="3950" y="1359"/>
                    <a:pt x="3928" y="1366"/>
                  </a:cubicBezTo>
                  <a:cubicBezTo>
                    <a:pt x="3913" y="1366"/>
                    <a:pt x="3905" y="1381"/>
                    <a:pt x="3890" y="1389"/>
                  </a:cubicBezTo>
                  <a:cubicBezTo>
                    <a:pt x="3890" y="1314"/>
                    <a:pt x="3905" y="1314"/>
                    <a:pt x="3972" y="1307"/>
                  </a:cubicBezTo>
                  <a:cubicBezTo>
                    <a:pt x="4054" y="1307"/>
                    <a:pt x="4002" y="1240"/>
                    <a:pt x="3980" y="1196"/>
                  </a:cubicBezTo>
                  <a:cubicBezTo>
                    <a:pt x="3957" y="1159"/>
                    <a:pt x="3935" y="1114"/>
                    <a:pt x="3928" y="1069"/>
                  </a:cubicBezTo>
                  <a:cubicBezTo>
                    <a:pt x="3920" y="1040"/>
                    <a:pt x="3920" y="943"/>
                    <a:pt x="3950" y="936"/>
                  </a:cubicBezTo>
                  <a:cubicBezTo>
                    <a:pt x="3957" y="899"/>
                    <a:pt x="3987" y="869"/>
                    <a:pt x="4017" y="847"/>
                  </a:cubicBezTo>
                  <a:cubicBezTo>
                    <a:pt x="4046" y="824"/>
                    <a:pt x="4069" y="794"/>
                    <a:pt x="4098" y="772"/>
                  </a:cubicBezTo>
                  <a:cubicBezTo>
                    <a:pt x="4128" y="757"/>
                    <a:pt x="4180" y="735"/>
                    <a:pt x="4210" y="728"/>
                  </a:cubicBezTo>
                  <a:cubicBezTo>
                    <a:pt x="4232" y="720"/>
                    <a:pt x="4254" y="720"/>
                    <a:pt x="4269" y="728"/>
                  </a:cubicBezTo>
                  <a:cubicBezTo>
                    <a:pt x="4299" y="728"/>
                    <a:pt x="4321" y="750"/>
                    <a:pt x="4351" y="743"/>
                  </a:cubicBezTo>
                  <a:cubicBezTo>
                    <a:pt x="4351" y="743"/>
                    <a:pt x="4366" y="720"/>
                    <a:pt x="4381" y="698"/>
                  </a:cubicBezTo>
                  <a:cubicBezTo>
                    <a:pt x="4381" y="631"/>
                    <a:pt x="4343" y="631"/>
                    <a:pt x="4299" y="594"/>
                  </a:cubicBezTo>
                </a:path>
              </a:pathLst>
            </a:custGeom>
            <a:grpFill/>
            <a:ln w="6350" cap="flat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lIns="60927" tIns="30463" rIns="60927" bIns="30463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5" name="Freeform 17"/>
            <p:cNvSpPr>
              <a:spLocks noChangeArrowheads="1"/>
            </p:cNvSpPr>
            <p:nvPr/>
          </p:nvSpPr>
          <p:spPr bwMode="auto">
            <a:xfrm>
              <a:off x="14798584" y="6998675"/>
              <a:ext cx="324082" cy="468654"/>
            </a:xfrm>
            <a:custGeom>
              <a:avLst/>
              <a:gdLst>
                <a:gd name="T0" fmla="*/ 742 w 751"/>
                <a:gd name="T1" fmla="*/ 356 h 1085"/>
                <a:gd name="T2" fmla="*/ 742 w 751"/>
                <a:gd name="T3" fmla="*/ 356 h 1085"/>
                <a:gd name="T4" fmla="*/ 720 w 751"/>
                <a:gd name="T5" fmla="*/ 297 h 1085"/>
                <a:gd name="T6" fmla="*/ 728 w 751"/>
                <a:gd name="T7" fmla="*/ 237 h 1085"/>
                <a:gd name="T8" fmla="*/ 698 w 751"/>
                <a:gd name="T9" fmla="*/ 192 h 1085"/>
                <a:gd name="T10" fmla="*/ 698 w 751"/>
                <a:gd name="T11" fmla="*/ 111 h 1085"/>
                <a:gd name="T12" fmla="*/ 639 w 751"/>
                <a:gd name="T13" fmla="*/ 118 h 1085"/>
                <a:gd name="T14" fmla="*/ 616 w 751"/>
                <a:gd name="T15" fmla="*/ 0 h 1085"/>
                <a:gd name="T16" fmla="*/ 609 w 751"/>
                <a:gd name="T17" fmla="*/ 14 h 1085"/>
                <a:gd name="T18" fmla="*/ 602 w 751"/>
                <a:gd name="T19" fmla="*/ 14 h 1085"/>
                <a:gd name="T20" fmla="*/ 579 w 751"/>
                <a:gd name="T21" fmla="*/ 59 h 1085"/>
                <a:gd name="T22" fmla="*/ 534 w 751"/>
                <a:gd name="T23" fmla="*/ 29 h 1085"/>
                <a:gd name="T24" fmla="*/ 505 w 751"/>
                <a:gd name="T25" fmla="*/ 66 h 1085"/>
                <a:gd name="T26" fmla="*/ 505 w 751"/>
                <a:gd name="T27" fmla="*/ 96 h 1085"/>
                <a:gd name="T28" fmla="*/ 490 w 751"/>
                <a:gd name="T29" fmla="*/ 111 h 1085"/>
                <a:gd name="T30" fmla="*/ 475 w 751"/>
                <a:gd name="T31" fmla="*/ 215 h 1085"/>
                <a:gd name="T32" fmla="*/ 416 w 751"/>
                <a:gd name="T33" fmla="*/ 163 h 1085"/>
                <a:gd name="T34" fmla="*/ 371 w 751"/>
                <a:gd name="T35" fmla="*/ 207 h 1085"/>
                <a:gd name="T36" fmla="*/ 327 w 751"/>
                <a:gd name="T37" fmla="*/ 178 h 1085"/>
                <a:gd name="T38" fmla="*/ 304 w 751"/>
                <a:gd name="T39" fmla="*/ 222 h 1085"/>
                <a:gd name="T40" fmla="*/ 267 w 751"/>
                <a:gd name="T41" fmla="*/ 260 h 1085"/>
                <a:gd name="T42" fmla="*/ 208 w 751"/>
                <a:gd name="T43" fmla="*/ 260 h 1085"/>
                <a:gd name="T44" fmla="*/ 156 w 751"/>
                <a:gd name="T45" fmla="*/ 260 h 1085"/>
                <a:gd name="T46" fmla="*/ 148 w 751"/>
                <a:gd name="T47" fmla="*/ 304 h 1085"/>
                <a:gd name="T48" fmla="*/ 74 w 751"/>
                <a:gd name="T49" fmla="*/ 334 h 1085"/>
                <a:gd name="T50" fmla="*/ 67 w 751"/>
                <a:gd name="T51" fmla="*/ 423 h 1085"/>
                <a:gd name="T52" fmla="*/ 22 w 751"/>
                <a:gd name="T53" fmla="*/ 505 h 1085"/>
                <a:gd name="T54" fmla="*/ 59 w 751"/>
                <a:gd name="T55" fmla="*/ 586 h 1085"/>
                <a:gd name="T56" fmla="*/ 52 w 751"/>
                <a:gd name="T57" fmla="*/ 623 h 1085"/>
                <a:gd name="T58" fmla="*/ 74 w 751"/>
                <a:gd name="T59" fmla="*/ 675 h 1085"/>
                <a:gd name="T60" fmla="*/ 96 w 751"/>
                <a:gd name="T61" fmla="*/ 727 h 1085"/>
                <a:gd name="T62" fmla="*/ 104 w 751"/>
                <a:gd name="T63" fmla="*/ 779 h 1085"/>
                <a:gd name="T64" fmla="*/ 134 w 751"/>
                <a:gd name="T65" fmla="*/ 846 h 1085"/>
                <a:gd name="T66" fmla="*/ 119 w 751"/>
                <a:gd name="T67" fmla="*/ 913 h 1085"/>
                <a:gd name="T68" fmla="*/ 134 w 751"/>
                <a:gd name="T69" fmla="*/ 965 h 1085"/>
                <a:gd name="T70" fmla="*/ 171 w 751"/>
                <a:gd name="T71" fmla="*/ 987 h 1085"/>
                <a:gd name="T72" fmla="*/ 223 w 751"/>
                <a:gd name="T73" fmla="*/ 839 h 1085"/>
                <a:gd name="T74" fmla="*/ 282 w 751"/>
                <a:gd name="T75" fmla="*/ 1032 h 1085"/>
                <a:gd name="T76" fmla="*/ 438 w 751"/>
                <a:gd name="T77" fmla="*/ 950 h 1085"/>
                <a:gd name="T78" fmla="*/ 416 w 751"/>
                <a:gd name="T79" fmla="*/ 898 h 1085"/>
                <a:gd name="T80" fmla="*/ 408 w 751"/>
                <a:gd name="T81" fmla="*/ 809 h 1085"/>
                <a:gd name="T82" fmla="*/ 460 w 751"/>
                <a:gd name="T83" fmla="*/ 735 h 1085"/>
                <a:gd name="T84" fmla="*/ 520 w 751"/>
                <a:gd name="T85" fmla="*/ 697 h 1085"/>
                <a:gd name="T86" fmla="*/ 497 w 751"/>
                <a:gd name="T87" fmla="*/ 601 h 1085"/>
                <a:gd name="T88" fmla="*/ 497 w 751"/>
                <a:gd name="T89" fmla="*/ 497 h 1085"/>
                <a:gd name="T90" fmla="*/ 542 w 751"/>
                <a:gd name="T91" fmla="*/ 556 h 1085"/>
                <a:gd name="T92" fmla="*/ 646 w 751"/>
                <a:gd name="T93" fmla="*/ 505 h 1085"/>
                <a:gd name="T94" fmla="*/ 676 w 751"/>
                <a:gd name="T95" fmla="*/ 542 h 1085"/>
                <a:gd name="T96" fmla="*/ 705 w 751"/>
                <a:gd name="T97" fmla="*/ 505 h 1085"/>
                <a:gd name="T98" fmla="*/ 735 w 751"/>
                <a:gd name="T99" fmla="*/ 460 h 1085"/>
                <a:gd name="T100" fmla="*/ 742 w 751"/>
                <a:gd name="T101" fmla="*/ 356 h 10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751" h="1085">
                  <a:moveTo>
                    <a:pt x="742" y="356"/>
                  </a:moveTo>
                  <a:lnTo>
                    <a:pt x="742" y="356"/>
                  </a:lnTo>
                  <a:cubicBezTo>
                    <a:pt x="742" y="334"/>
                    <a:pt x="728" y="319"/>
                    <a:pt x="720" y="297"/>
                  </a:cubicBezTo>
                  <a:cubicBezTo>
                    <a:pt x="720" y="274"/>
                    <a:pt x="728" y="252"/>
                    <a:pt x="728" y="237"/>
                  </a:cubicBezTo>
                  <a:cubicBezTo>
                    <a:pt x="728" y="215"/>
                    <a:pt x="698" y="200"/>
                    <a:pt x="698" y="192"/>
                  </a:cubicBezTo>
                  <a:cubicBezTo>
                    <a:pt x="691" y="170"/>
                    <a:pt x="691" y="141"/>
                    <a:pt x="698" y="111"/>
                  </a:cubicBezTo>
                  <a:cubicBezTo>
                    <a:pt x="668" y="118"/>
                    <a:pt x="639" y="118"/>
                    <a:pt x="639" y="118"/>
                  </a:cubicBezTo>
                  <a:cubicBezTo>
                    <a:pt x="646" y="74"/>
                    <a:pt x="631" y="29"/>
                    <a:pt x="616" y="0"/>
                  </a:cubicBezTo>
                  <a:cubicBezTo>
                    <a:pt x="609" y="0"/>
                    <a:pt x="609" y="7"/>
                    <a:pt x="609" y="14"/>
                  </a:cubicBezTo>
                  <a:cubicBezTo>
                    <a:pt x="602" y="14"/>
                    <a:pt x="602" y="14"/>
                    <a:pt x="602" y="14"/>
                  </a:cubicBezTo>
                  <a:cubicBezTo>
                    <a:pt x="594" y="29"/>
                    <a:pt x="602" y="51"/>
                    <a:pt x="579" y="59"/>
                  </a:cubicBezTo>
                  <a:cubicBezTo>
                    <a:pt x="564" y="66"/>
                    <a:pt x="549" y="37"/>
                    <a:pt x="534" y="29"/>
                  </a:cubicBezTo>
                  <a:cubicBezTo>
                    <a:pt x="527" y="44"/>
                    <a:pt x="512" y="44"/>
                    <a:pt x="505" y="66"/>
                  </a:cubicBezTo>
                  <a:cubicBezTo>
                    <a:pt x="505" y="74"/>
                    <a:pt x="512" y="89"/>
                    <a:pt x="505" y="96"/>
                  </a:cubicBezTo>
                  <a:cubicBezTo>
                    <a:pt x="505" y="103"/>
                    <a:pt x="497" y="103"/>
                    <a:pt x="490" y="111"/>
                  </a:cubicBezTo>
                  <a:cubicBezTo>
                    <a:pt x="475" y="148"/>
                    <a:pt x="505" y="185"/>
                    <a:pt x="475" y="215"/>
                  </a:cubicBezTo>
                  <a:cubicBezTo>
                    <a:pt x="453" y="192"/>
                    <a:pt x="445" y="163"/>
                    <a:pt x="416" y="163"/>
                  </a:cubicBezTo>
                  <a:cubicBezTo>
                    <a:pt x="379" y="163"/>
                    <a:pt x="371" y="178"/>
                    <a:pt x="371" y="207"/>
                  </a:cubicBezTo>
                  <a:cubicBezTo>
                    <a:pt x="349" y="215"/>
                    <a:pt x="334" y="192"/>
                    <a:pt x="327" y="178"/>
                  </a:cubicBezTo>
                  <a:cubicBezTo>
                    <a:pt x="312" y="192"/>
                    <a:pt x="319" y="207"/>
                    <a:pt x="304" y="222"/>
                  </a:cubicBezTo>
                  <a:cubicBezTo>
                    <a:pt x="297" y="237"/>
                    <a:pt x="282" y="252"/>
                    <a:pt x="267" y="260"/>
                  </a:cubicBezTo>
                  <a:cubicBezTo>
                    <a:pt x="245" y="282"/>
                    <a:pt x="237" y="267"/>
                    <a:pt x="208" y="260"/>
                  </a:cubicBezTo>
                  <a:cubicBezTo>
                    <a:pt x="193" y="260"/>
                    <a:pt x="171" y="260"/>
                    <a:pt x="156" y="260"/>
                  </a:cubicBezTo>
                  <a:cubicBezTo>
                    <a:pt x="148" y="274"/>
                    <a:pt x="148" y="289"/>
                    <a:pt x="148" y="304"/>
                  </a:cubicBezTo>
                  <a:cubicBezTo>
                    <a:pt x="119" y="304"/>
                    <a:pt x="104" y="334"/>
                    <a:pt x="74" y="334"/>
                  </a:cubicBezTo>
                  <a:cubicBezTo>
                    <a:pt x="59" y="363"/>
                    <a:pt x="67" y="386"/>
                    <a:pt x="67" y="423"/>
                  </a:cubicBezTo>
                  <a:cubicBezTo>
                    <a:pt x="59" y="460"/>
                    <a:pt x="30" y="467"/>
                    <a:pt x="22" y="505"/>
                  </a:cubicBezTo>
                  <a:cubicBezTo>
                    <a:pt x="0" y="549"/>
                    <a:pt x="52" y="549"/>
                    <a:pt x="59" y="586"/>
                  </a:cubicBezTo>
                  <a:cubicBezTo>
                    <a:pt x="59" y="594"/>
                    <a:pt x="52" y="608"/>
                    <a:pt x="52" y="623"/>
                  </a:cubicBezTo>
                  <a:cubicBezTo>
                    <a:pt x="52" y="638"/>
                    <a:pt x="67" y="660"/>
                    <a:pt x="74" y="675"/>
                  </a:cubicBezTo>
                  <a:cubicBezTo>
                    <a:pt x="82" y="690"/>
                    <a:pt x="89" y="705"/>
                    <a:pt x="96" y="727"/>
                  </a:cubicBezTo>
                  <a:cubicBezTo>
                    <a:pt x="104" y="742"/>
                    <a:pt x="96" y="757"/>
                    <a:pt x="104" y="779"/>
                  </a:cubicBezTo>
                  <a:cubicBezTo>
                    <a:pt x="104" y="802"/>
                    <a:pt x="126" y="824"/>
                    <a:pt x="134" y="846"/>
                  </a:cubicBezTo>
                  <a:cubicBezTo>
                    <a:pt x="134" y="868"/>
                    <a:pt x="119" y="891"/>
                    <a:pt x="119" y="913"/>
                  </a:cubicBezTo>
                  <a:cubicBezTo>
                    <a:pt x="119" y="928"/>
                    <a:pt x="119" y="950"/>
                    <a:pt x="134" y="965"/>
                  </a:cubicBezTo>
                  <a:cubicBezTo>
                    <a:pt x="134" y="972"/>
                    <a:pt x="171" y="994"/>
                    <a:pt x="171" y="987"/>
                  </a:cubicBezTo>
                  <a:cubicBezTo>
                    <a:pt x="171" y="957"/>
                    <a:pt x="156" y="787"/>
                    <a:pt x="223" y="839"/>
                  </a:cubicBezTo>
                  <a:cubicBezTo>
                    <a:pt x="282" y="876"/>
                    <a:pt x="230" y="980"/>
                    <a:pt x="282" y="1032"/>
                  </a:cubicBezTo>
                  <a:cubicBezTo>
                    <a:pt x="327" y="1084"/>
                    <a:pt x="438" y="1009"/>
                    <a:pt x="438" y="950"/>
                  </a:cubicBezTo>
                  <a:cubicBezTo>
                    <a:pt x="438" y="935"/>
                    <a:pt x="423" y="913"/>
                    <a:pt x="416" y="898"/>
                  </a:cubicBezTo>
                  <a:cubicBezTo>
                    <a:pt x="408" y="876"/>
                    <a:pt x="394" y="839"/>
                    <a:pt x="408" y="809"/>
                  </a:cubicBezTo>
                  <a:cubicBezTo>
                    <a:pt x="423" y="779"/>
                    <a:pt x="453" y="772"/>
                    <a:pt x="460" y="735"/>
                  </a:cubicBezTo>
                  <a:cubicBezTo>
                    <a:pt x="468" y="705"/>
                    <a:pt x="490" y="690"/>
                    <a:pt x="520" y="697"/>
                  </a:cubicBezTo>
                  <a:cubicBezTo>
                    <a:pt x="527" y="653"/>
                    <a:pt x="497" y="631"/>
                    <a:pt x="497" y="601"/>
                  </a:cubicBezTo>
                  <a:cubicBezTo>
                    <a:pt x="497" y="571"/>
                    <a:pt x="490" y="519"/>
                    <a:pt x="497" y="497"/>
                  </a:cubicBezTo>
                  <a:cubicBezTo>
                    <a:pt x="549" y="490"/>
                    <a:pt x="520" y="534"/>
                    <a:pt x="542" y="556"/>
                  </a:cubicBezTo>
                  <a:cubicBezTo>
                    <a:pt x="587" y="586"/>
                    <a:pt x="609" y="505"/>
                    <a:pt x="646" y="505"/>
                  </a:cubicBezTo>
                  <a:cubicBezTo>
                    <a:pt x="676" y="497"/>
                    <a:pt x="668" y="519"/>
                    <a:pt x="676" y="542"/>
                  </a:cubicBezTo>
                  <a:cubicBezTo>
                    <a:pt x="676" y="527"/>
                    <a:pt x="705" y="512"/>
                    <a:pt x="705" y="505"/>
                  </a:cubicBezTo>
                  <a:cubicBezTo>
                    <a:pt x="720" y="497"/>
                    <a:pt x="720" y="475"/>
                    <a:pt x="735" y="460"/>
                  </a:cubicBezTo>
                  <a:cubicBezTo>
                    <a:pt x="742" y="430"/>
                    <a:pt x="750" y="393"/>
                    <a:pt x="742" y="356"/>
                  </a:cubicBezTo>
                </a:path>
              </a:pathLst>
            </a:custGeom>
            <a:grpFill/>
            <a:ln w="6350" cap="flat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lIns="60927" tIns="30463" rIns="60927" bIns="30463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6" name="Freeform 18"/>
            <p:cNvSpPr>
              <a:spLocks noChangeArrowheads="1"/>
            </p:cNvSpPr>
            <p:nvPr/>
          </p:nvSpPr>
          <p:spPr bwMode="auto">
            <a:xfrm>
              <a:off x="11109766" y="11841434"/>
              <a:ext cx="83880" cy="55247"/>
            </a:xfrm>
            <a:custGeom>
              <a:avLst/>
              <a:gdLst>
                <a:gd name="T0" fmla="*/ 23 w 195"/>
                <a:gd name="T1" fmla="*/ 59 h 127"/>
                <a:gd name="T2" fmla="*/ 23 w 195"/>
                <a:gd name="T3" fmla="*/ 59 h 127"/>
                <a:gd name="T4" fmla="*/ 112 w 195"/>
                <a:gd name="T5" fmla="*/ 74 h 127"/>
                <a:gd name="T6" fmla="*/ 149 w 195"/>
                <a:gd name="T7" fmla="*/ 104 h 127"/>
                <a:gd name="T8" fmla="*/ 194 w 195"/>
                <a:gd name="T9" fmla="*/ 126 h 127"/>
                <a:gd name="T10" fmla="*/ 179 w 195"/>
                <a:gd name="T11" fmla="*/ 96 h 127"/>
                <a:gd name="T12" fmla="*/ 142 w 195"/>
                <a:gd name="T13" fmla="*/ 74 h 127"/>
                <a:gd name="T14" fmla="*/ 127 w 195"/>
                <a:gd name="T15" fmla="*/ 7 h 127"/>
                <a:gd name="T16" fmla="*/ 97 w 195"/>
                <a:gd name="T17" fmla="*/ 29 h 127"/>
                <a:gd name="T18" fmla="*/ 52 w 195"/>
                <a:gd name="T19" fmla="*/ 37 h 127"/>
                <a:gd name="T20" fmla="*/ 0 w 195"/>
                <a:gd name="T21" fmla="*/ 37 h 127"/>
                <a:gd name="T22" fmla="*/ 23 w 195"/>
                <a:gd name="T23" fmla="*/ 59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5" h="127">
                  <a:moveTo>
                    <a:pt x="23" y="59"/>
                  </a:moveTo>
                  <a:lnTo>
                    <a:pt x="23" y="59"/>
                  </a:lnTo>
                  <a:cubicBezTo>
                    <a:pt x="45" y="44"/>
                    <a:pt x="89" y="59"/>
                    <a:pt x="112" y="74"/>
                  </a:cubicBezTo>
                  <a:cubicBezTo>
                    <a:pt x="127" y="81"/>
                    <a:pt x="142" y="89"/>
                    <a:pt x="149" y="104"/>
                  </a:cubicBezTo>
                  <a:cubicBezTo>
                    <a:pt x="164" y="111"/>
                    <a:pt x="171" y="126"/>
                    <a:pt x="194" y="126"/>
                  </a:cubicBezTo>
                  <a:cubicBezTo>
                    <a:pt x="186" y="118"/>
                    <a:pt x="186" y="104"/>
                    <a:pt x="179" y="96"/>
                  </a:cubicBezTo>
                  <a:cubicBezTo>
                    <a:pt x="171" y="81"/>
                    <a:pt x="156" y="81"/>
                    <a:pt x="142" y="74"/>
                  </a:cubicBezTo>
                  <a:cubicBezTo>
                    <a:pt x="119" y="59"/>
                    <a:pt x="127" y="37"/>
                    <a:pt x="127" y="7"/>
                  </a:cubicBezTo>
                  <a:cubicBezTo>
                    <a:pt x="104" y="0"/>
                    <a:pt x="104" y="15"/>
                    <a:pt x="97" y="29"/>
                  </a:cubicBezTo>
                  <a:cubicBezTo>
                    <a:pt x="82" y="37"/>
                    <a:pt x="67" y="37"/>
                    <a:pt x="52" y="37"/>
                  </a:cubicBezTo>
                  <a:cubicBezTo>
                    <a:pt x="37" y="37"/>
                    <a:pt x="15" y="37"/>
                    <a:pt x="0" y="37"/>
                  </a:cubicBezTo>
                  <a:cubicBezTo>
                    <a:pt x="15" y="44"/>
                    <a:pt x="23" y="52"/>
                    <a:pt x="23" y="59"/>
                  </a:cubicBezTo>
                </a:path>
              </a:pathLst>
            </a:custGeom>
            <a:grpFill/>
            <a:ln w="6350" cap="flat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lIns="60927" tIns="30463" rIns="60927" bIns="30463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7" name="Freeform 19"/>
            <p:cNvSpPr>
              <a:spLocks noChangeArrowheads="1"/>
            </p:cNvSpPr>
            <p:nvPr/>
          </p:nvSpPr>
          <p:spPr bwMode="auto">
            <a:xfrm>
              <a:off x="15065475" y="6981529"/>
              <a:ext cx="9531" cy="17146"/>
            </a:xfrm>
            <a:custGeom>
              <a:avLst/>
              <a:gdLst>
                <a:gd name="T0" fmla="*/ 23 w 24"/>
                <a:gd name="T1" fmla="*/ 30 h 39"/>
                <a:gd name="T2" fmla="*/ 23 w 24"/>
                <a:gd name="T3" fmla="*/ 30 h 39"/>
                <a:gd name="T4" fmla="*/ 23 w 24"/>
                <a:gd name="T5" fmla="*/ 0 h 39"/>
                <a:gd name="T6" fmla="*/ 0 w 24"/>
                <a:gd name="T7" fmla="*/ 38 h 39"/>
                <a:gd name="T8" fmla="*/ 23 w 24"/>
                <a:gd name="T9" fmla="*/ 3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39">
                  <a:moveTo>
                    <a:pt x="23" y="30"/>
                  </a:moveTo>
                  <a:lnTo>
                    <a:pt x="23" y="30"/>
                  </a:lnTo>
                  <a:cubicBezTo>
                    <a:pt x="23" y="23"/>
                    <a:pt x="23" y="15"/>
                    <a:pt x="23" y="0"/>
                  </a:cubicBezTo>
                  <a:cubicBezTo>
                    <a:pt x="15" y="8"/>
                    <a:pt x="0" y="23"/>
                    <a:pt x="0" y="38"/>
                  </a:cubicBezTo>
                  <a:cubicBezTo>
                    <a:pt x="8" y="30"/>
                    <a:pt x="15" y="38"/>
                    <a:pt x="23" y="30"/>
                  </a:cubicBezTo>
                </a:path>
              </a:pathLst>
            </a:custGeom>
            <a:grpFill/>
            <a:ln w="6350" cap="flat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lIns="60927" tIns="30463" rIns="60927" bIns="30463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8" name="Freeform 20"/>
            <p:cNvSpPr>
              <a:spLocks noChangeArrowheads="1"/>
            </p:cNvSpPr>
            <p:nvPr/>
          </p:nvSpPr>
          <p:spPr bwMode="auto">
            <a:xfrm>
              <a:off x="11098328" y="11854770"/>
              <a:ext cx="13345" cy="3810"/>
            </a:xfrm>
            <a:custGeom>
              <a:avLst/>
              <a:gdLst>
                <a:gd name="T0" fmla="*/ 29 w 30"/>
                <a:gd name="T1" fmla="*/ 8 h 9"/>
                <a:gd name="T2" fmla="*/ 29 w 30"/>
                <a:gd name="T3" fmla="*/ 8 h 9"/>
                <a:gd name="T4" fmla="*/ 7 w 30"/>
                <a:gd name="T5" fmla="*/ 0 h 9"/>
                <a:gd name="T6" fmla="*/ 0 w 30"/>
                <a:gd name="T7" fmla="*/ 0 h 9"/>
                <a:gd name="T8" fmla="*/ 15 w 30"/>
                <a:gd name="T9" fmla="*/ 8 h 9"/>
                <a:gd name="T10" fmla="*/ 29 w 30"/>
                <a:gd name="T11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9">
                  <a:moveTo>
                    <a:pt x="29" y="8"/>
                  </a:moveTo>
                  <a:lnTo>
                    <a:pt x="29" y="8"/>
                  </a:lnTo>
                  <a:cubicBezTo>
                    <a:pt x="22" y="8"/>
                    <a:pt x="15" y="0"/>
                    <a:pt x="7" y="0"/>
                  </a:cubicBezTo>
                  <a:lnTo>
                    <a:pt x="0" y="0"/>
                  </a:lnTo>
                  <a:cubicBezTo>
                    <a:pt x="7" y="8"/>
                    <a:pt x="15" y="8"/>
                    <a:pt x="15" y="8"/>
                  </a:cubicBezTo>
                  <a:cubicBezTo>
                    <a:pt x="22" y="8"/>
                    <a:pt x="29" y="8"/>
                    <a:pt x="29" y="8"/>
                  </a:cubicBezTo>
                </a:path>
              </a:pathLst>
            </a:custGeom>
            <a:grpFill/>
            <a:ln w="6350" cap="flat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lIns="60927" tIns="30463" rIns="60927" bIns="30463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9" name="Freeform 21"/>
            <p:cNvSpPr>
              <a:spLocks noChangeArrowheads="1"/>
            </p:cNvSpPr>
            <p:nvPr/>
          </p:nvSpPr>
          <p:spPr bwMode="auto">
            <a:xfrm>
              <a:off x="15299957" y="6562408"/>
              <a:ext cx="516626" cy="552478"/>
            </a:xfrm>
            <a:custGeom>
              <a:avLst/>
              <a:gdLst>
                <a:gd name="T0" fmla="*/ 1018 w 1197"/>
                <a:gd name="T1" fmla="*/ 14 h 1278"/>
                <a:gd name="T2" fmla="*/ 943 w 1197"/>
                <a:gd name="T3" fmla="*/ 59 h 1278"/>
                <a:gd name="T4" fmla="*/ 921 w 1197"/>
                <a:gd name="T5" fmla="*/ 118 h 1278"/>
                <a:gd name="T6" fmla="*/ 795 w 1197"/>
                <a:gd name="T7" fmla="*/ 141 h 1278"/>
                <a:gd name="T8" fmla="*/ 743 w 1197"/>
                <a:gd name="T9" fmla="*/ 133 h 1278"/>
                <a:gd name="T10" fmla="*/ 683 w 1197"/>
                <a:gd name="T11" fmla="*/ 141 h 1278"/>
                <a:gd name="T12" fmla="*/ 543 w 1197"/>
                <a:gd name="T13" fmla="*/ 148 h 1278"/>
                <a:gd name="T14" fmla="*/ 498 w 1197"/>
                <a:gd name="T15" fmla="*/ 237 h 1278"/>
                <a:gd name="T16" fmla="*/ 409 w 1197"/>
                <a:gd name="T17" fmla="*/ 371 h 1278"/>
                <a:gd name="T18" fmla="*/ 290 w 1197"/>
                <a:gd name="T19" fmla="*/ 319 h 1278"/>
                <a:gd name="T20" fmla="*/ 246 w 1197"/>
                <a:gd name="T21" fmla="*/ 356 h 1278"/>
                <a:gd name="T22" fmla="*/ 201 w 1197"/>
                <a:gd name="T23" fmla="*/ 453 h 1278"/>
                <a:gd name="T24" fmla="*/ 149 w 1197"/>
                <a:gd name="T25" fmla="*/ 512 h 1278"/>
                <a:gd name="T26" fmla="*/ 134 w 1197"/>
                <a:gd name="T27" fmla="*/ 675 h 1278"/>
                <a:gd name="T28" fmla="*/ 52 w 1197"/>
                <a:gd name="T29" fmla="*/ 831 h 1278"/>
                <a:gd name="T30" fmla="*/ 23 w 1197"/>
                <a:gd name="T31" fmla="*/ 980 h 1278"/>
                <a:gd name="T32" fmla="*/ 38 w 1197"/>
                <a:gd name="T33" fmla="*/ 1054 h 1278"/>
                <a:gd name="T34" fmla="*/ 8 w 1197"/>
                <a:gd name="T35" fmla="*/ 1143 h 1278"/>
                <a:gd name="T36" fmla="*/ 134 w 1197"/>
                <a:gd name="T37" fmla="*/ 1180 h 1278"/>
                <a:gd name="T38" fmla="*/ 275 w 1197"/>
                <a:gd name="T39" fmla="*/ 1173 h 1278"/>
                <a:gd name="T40" fmla="*/ 283 w 1197"/>
                <a:gd name="T41" fmla="*/ 1165 h 1278"/>
                <a:gd name="T42" fmla="*/ 357 w 1197"/>
                <a:gd name="T43" fmla="*/ 1158 h 1278"/>
                <a:gd name="T44" fmla="*/ 446 w 1197"/>
                <a:gd name="T45" fmla="*/ 1143 h 1278"/>
                <a:gd name="T46" fmla="*/ 602 w 1197"/>
                <a:gd name="T47" fmla="*/ 1217 h 1278"/>
                <a:gd name="T48" fmla="*/ 795 w 1197"/>
                <a:gd name="T49" fmla="*/ 1270 h 1278"/>
                <a:gd name="T50" fmla="*/ 906 w 1197"/>
                <a:gd name="T51" fmla="*/ 995 h 1278"/>
                <a:gd name="T52" fmla="*/ 958 w 1197"/>
                <a:gd name="T53" fmla="*/ 891 h 1278"/>
                <a:gd name="T54" fmla="*/ 973 w 1197"/>
                <a:gd name="T55" fmla="*/ 839 h 1278"/>
                <a:gd name="T56" fmla="*/ 1018 w 1197"/>
                <a:gd name="T57" fmla="*/ 742 h 1278"/>
                <a:gd name="T58" fmla="*/ 1062 w 1197"/>
                <a:gd name="T59" fmla="*/ 660 h 1278"/>
                <a:gd name="T60" fmla="*/ 1107 w 1197"/>
                <a:gd name="T61" fmla="*/ 579 h 1278"/>
                <a:gd name="T62" fmla="*/ 1174 w 1197"/>
                <a:gd name="T63" fmla="*/ 438 h 1278"/>
                <a:gd name="T64" fmla="*/ 1196 w 1197"/>
                <a:gd name="T65" fmla="*/ 356 h 1278"/>
                <a:gd name="T66" fmla="*/ 1085 w 1197"/>
                <a:gd name="T67" fmla="*/ 304 h 1278"/>
                <a:gd name="T68" fmla="*/ 1122 w 1197"/>
                <a:gd name="T69" fmla="*/ 185 h 1278"/>
                <a:gd name="T70" fmla="*/ 1010 w 1197"/>
                <a:gd name="T71" fmla="*/ 141 h 1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197" h="1278">
                  <a:moveTo>
                    <a:pt x="1018" y="14"/>
                  </a:moveTo>
                  <a:lnTo>
                    <a:pt x="1018" y="14"/>
                  </a:lnTo>
                  <a:cubicBezTo>
                    <a:pt x="1003" y="14"/>
                    <a:pt x="1003" y="7"/>
                    <a:pt x="995" y="0"/>
                  </a:cubicBezTo>
                  <a:cubicBezTo>
                    <a:pt x="988" y="0"/>
                    <a:pt x="951" y="52"/>
                    <a:pt x="943" y="59"/>
                  </a:cubicBezTo>
                  <a:cubicBezTo>
                    <a:pt x="943" y="66"/>
                    <a:pt x="936" y="74"/>
                    <a:pt x="928" y="81"/>
                  </a:cubicBezTo>
                  <a:cubicBezTo>
                    <a:pt x="928" y="96"/>
                    <a:pt x="936" y="103"/>
                    <a:pt x="921" y="118"/>
                  </a:cubicBezTo>
                  <a:cubicBezTo>
                    <a:pt x="906" y="126"/>
                    <a:pt x="877" y="126"/>
                    <a:pt x="862" y="126"/>
                  </a:cubicBezTo>
                  <a:cubicBezTo>
                    <a:pt x="832" y="126"/>
                    <a:pt x="817" y="133"/>
                    <a:pt x="795" y="141"/>
                  </a:cubicBezTo>
                  <a:cubicBezTo>
                    <a:pt x="788" y="148"/>
                    <a:pt x="780" y="148"/>
                    <a:pt x="765" y="148"/>
                  </a:cubicBezTo>
                  <a:cubicBezTo>
                    <a:pt x="750" y="148"/>
                    <a:pt x="758" y="133"/>
                    <a:pt x="743" y="133"/>
                  </a:cubicBezTo>
                  <a:cubicBezTo>
                    <a:pt x="736" y="133"/>
                    <a:pt x="721" y="148"/>
                    <a:pt x="713" y="148"/>
                  </a:cubicBezTo>
                  <a:cubicBezTo>
                    <a:pt x="698" y="148"/>
                    <a:pt x="698" y="141"/>
                    <a:pt x="683" y="141"/>
                  </a:cubicBezTo>
                  <a:cubicBezTo>
                    <a:pt x="661" y="133"/>
                    <a:pt x="639" y="133"/>
                    <a:pt x="617" y="133"/>
                  </a:cubicBezTo>
                  <a:cubicBezTo>
                    <a:pt x="587" y="133"/>
                    <a:pt x="565" y="133"/>
                    <a:pt x="543" y="148"/>
                  </a:cubicBezTo>
                  <a:cubicBezTo>
                    <a:pt x="520" y="155"/>
                    <a:pt x="483" y="155"/>
                    <a:pt x="476" y="178"/>
                  </a:cubicBezTo>
                  <a:cubicBezTo>
                    <a:pt x="505" y="185"/>
                    <a:pt x="513" y="208"/>
                    <a:pt x="498" y="237"/>
                  </a:cubicBezTo>
                  <a:cubicBezTo>
                    <a:pt x="483" y="252"/>
                    <a:pt x="476" y="267"/>
                    <a:pt x="461" y="282"/>
                  </a:cubicBezTo>
                  <a:cubicBezTo>
                    <a:pt x="431" y="304"/>
                    <a:pt x="424" y="334"/>
                    <a:pt x="409" y="371"/>
                  </a:cubicBezTo>
                  <a:cubicBezTo>
                    <a:pt x="386" y="356"/>
                    <a:pt x="364" y="341"/>
                    <a:pt x="334" y="334"/>
                  </a:cubicBezTo>
                  <a:cubicBezTo>
                    <a:pt x="334" y="326"/>
                    <a:pt x="312" y="319"/>
                    <a:pt x="290" y="319"/>
                  </a:cubicBezTo>
                  <a:cubicBezTo>
                    <a:pt x="290" y="319"/>
                    <a:pt x="290" y="326"/>
                    <a:pt x="297" y="326"/>
                  </a:cubicBezTo>
                  <a:cubicBezTo>
                    <a:pt x="268" y="326"/>
                    <a:pt x="260" y="341"/>
                    <a:pt x="246" y="356"/>
                  </a:cubicBezTo>
                  <a:cubicBezTo>
                    <a:pt x="238" y="363"/>
                    <a:pt x="216" y="386"/>
                    <a:pt x="208" y="393"/>
                  </a:cubicBezTo>
                  <a:cubicBezTo>
                    <a:pt x="201" y="408"/>
                    <a:pt x="208" y="438"/>
                    <a:pt x="201" y="453"/>
                  </a:cubicBezTo>
                  <a:cubicBezTo>
                    <a:pt x="201" y="475"/>
                    <a:pt x="193" y="490"/>
                    <a:pt x="186" y="505"/>
                  </a:cubicBezTo>
                  <a:cubicBezTo>
                    <a:pt x="171" y="505"/>
                    <a:pt x="164" y="505"/>
                    <a:pt x="149" y="512"/>
                  </a:cubicBezTo>
                  <a:cubicBezTo>
                    <a:pt x="171" y="542"/>
                    <a:pt x="156" y="564"/>
                    <a:pt x="149" y="594"/>
                  </a:cubicBezTo>
                  <a:cubicBezTo>
                    <a:pt x="141" y="623"/>
                    <a:pt x="149" y="653"/>
                    <a:pt x="134" y="675"/>
                  </a:cubicBezTo>
                  <a:cubicBezTo>
                    <a:pt x="112" y="675"/>
                    <a:pt x="89" y="675"/>
                    <a:pt x="67" y="675"/>
                  </a:cubicBezTo>
                  <a:cubicBezTo>
                    <a:pt x="60" y="727"/>
                    <a:pt x="60" y="779"/>
                    <a:pt x="52" y="831"/>
                  </a:cubicBezTo>
                  <a:cubicBezTo>
                    <a:pt x="52" y="861"/>
                    <a:pt x="52" y="883"/>
                    <a:pt x="38" y="905"/>
                  </a:cubicBezTo>
                  <a:cubicBezTo>
                    <a:pt x="23" y="935"/>
                    <a:pt x="23" y="950"/>
                    <a:pt x="23" y="980"/>
                  </a:cubicBezTo>
                  <a:cubicBezTo>
                    <a:pt x="15" y="987"/>
                    <a:pt x="15" y="987"/>
                    <a:pt x="15" y="987"/>
                  </a:cubicBezTo>
                  <a:cubicBezTo>
                    <a:pt x="23" y="1010"/>
                    <a:pt x="38" y="1039"/>
                    <a:pt x="38" y="1054"/>
                  </a:cubicBezTo>
                  <a:cubicBezTo>
                    <a:pt x="38" y="1069"/>
                    <a:pt x="38" y="1084"/>
                    <a:pt x="30" y="1099"/>
                  </a:cubicBezTo>
                  <a:cubicBezTo>
                    <a:pt x="23" y="1121"/>
                    <a:pt x="0" y="1121"/>
                    <a:pt x="8" y="1143"/>
                  </a:cubicBezTo>
                  <a:cubicBezTo>
                    <a:pt x="38" y="1158"/>
                    <a:pt x="67" y="1151"/>
                    <a:pt x="97" y="1158"/>
                  </a:cubicBezTo>
                  <a:cubicBezTo>
                    <a:pt x="127" y="1165"/>
                    <a:pt x="119" y="1165"/>
                    <a:pt x="134" y="1180"/>
                  </a:cubicBezTo>
                  <a:cubicBezTo>
                    <a:pt x="149" y="1188"/>
                    <a:pt x="171" y="1180"/>
                    <a:pt x="186" y="1180"/>
                  </a:cubicBezTo>
                  <a:cubicBezTo>
                    <a:pt x="208" y="1180"/>
                    <a:pt x="260" y="1165"/>
                    <a:pt x="275" y="1173"/>
                  </a:cubicBezTo>
                  <a:lnTo>
                    <a:pt x="283" y="1180"/>
                  </a:lnTo>
                  <a:cubicBezTo>
                    <a:pt x="283" y="1173"/>
                    <a:pt x="283" y="1173"/>
                    <a:pt x="283" y="1165"/>
                  </a:cubicBezTo>
                  <a:cubicBezTo>
                    <a:pt x="290" y="1151"/>
                    <a:pt x="290" y="1121"/>
                    <a:pt x="312" y="1113"/>
                  </a:cubicBezTo>
                  <a:cubicBezTo>
                    <a:pt x="327" y="1113"/>
                    <a:pt x="349" y="1151"/>
                    <a:pt x="357" y="1158"/>
                  </a:cubicBezTo>
                  <a:cubicBezTo>
                    <a:pt x="372" y="1173"/>
                    <a:pt x="394" y="1195"/>
                    <a:pt x="416" y="1202"/>
                  </a:cubicBezTo>
                  <a:cubicBezTo>
                    <a:pt x="453" y="1202"/>
                    <a:pt x="446" y="1173"/>
                    <a:pt x="446" y="1143"/>
                  </a:cubicBezTo>
                  <a:cubicBezTo>
                    <a:pt x="476" y="1143"/>
                    <a:pt x="528" y="1136"/>
                    <a:pt x="550" y="1143"/>
                  </a:cubicBezTo>
                  <a:cubicBezTo>
                    <a:pt x="580" y="1158"/>
                    <a:pt x="580" y="1217"/>
                    <a:pt x="602" y="1217"/>
                  </a:cubicBezTo>
                  <a:cubicBezTo>
                    <a:pt x="602" y="1165"/>
                    <a:pt x="676" y="1165"/>
                    <a:pt x="713" y="1180"/>
                  </a:cubicBezTo>
                  <a:cubicBezTo>
                    <a:pt x="750" y="1202"/>
                    <a:pt x="780" y="1232"/>
                    <a:pt x="795" y="1270"/>
                  </a:cubicBezTo>
                  <a:cubicBezTo>
                    <a:pt x="854" y="1277"/>
                    <a:pt x="884" y="1084"/>
                    <a:pt x="891" y="1054"/>
                  </a:cubicBezTo>
                  <a:cubicBezTo>
                    <a:pt x="899" y="1032"/>
                    <a:pt x="899" y="1010"/>
                    <a:pt x="906" y="995"/>
                  </a:cubicBezTo>
                  <a:cubicBezTo>
                    <a:pt x="914" y="972"/>
                    <a:pt x="928" y="965"/>
                    <a:pt x="936" y="943"/>
                  </a:cubicBezTo>
                  <a:cubicBezTo>
                    <a:pt x="943" y="928"/>
                    <a:pt x="943" y="905"/>
                    <a:pt x="958" y="891"/>
                  </a:cubicBezTo>
                  <a:cubicBezTo>
                    <a:pt x="966" y="876"/>
                    <a:pt x="966" y="883"/>
                    <a:pt x="973" y="868"/>
                  </a:cubicBezTo>
                  <a:cubicBezTo>
                    <a:pt x="973" y="861"/>
                    <a:pt x="973" y="846"/>
                    <a:pt x="973" y="839"/>
                  </a:cubicBezTo>
                  <a:cubicBezTo>
                    <a:pt x="973" y="816"/>
                    <a:pt x="981" y="809"/>
                    <a:pt x="988" y="787"/>
                  </a:cubicBezTo>
                  <a:cubicBezTo>
                    <a:pt x="995" y="765"/>
                    <a:pt x="988" y="757"/>
                    <a:pt x="1018" y="742"/>
                  </a:cubicBezTo>
                  <a:cubicBezTo>
                    <a:pt x="1040" y="742"/>
                    <a:pt x="1055" y="742"/>
                    <a:pt x="1062" y="712"/>
                  </a:cubicBezTo>
                  <a:cubicBezTo>
                    <a:pt x="1070" y="698"/>
                    <a:pt x="1062" y="675"/>
                    <a:pt x="1062" y="660"/>
                  </a:cubicBezTo>
                  <a:cubicBezTo>
                    <a:pt x="1085" y="646"/>
                    <a:pt x="1099" y="646"/>
                    <a:pt x="1107" y="623"/>
                  </a:cubicBezTo>
                  <a:cubicBezTo>
                    <a:pt x="1107" y="608"/>
                    <a:pt x="1107" y="594"/>
                    <a:pt x="1107" y="579"/>
                  </a:cubicBezTo>
                  <a:cubicBezTo>
                    <a:pt x="1114" y="542"/>
                    <a:pt x="1137" y="549"/>
                    <a:pt x="1159" y="527"/>
                  </a:cubicBezTo>
                  <a:cubicBezTo>
                    <a:pt x="1174" y="497"/>
                    <a:pt x="1159" y="467"/>
                    <a:pt x="1174" y="438"/>
                  </a:cubicBezTo>
                  <a:cubicBezTo>
                    <a:pt x="1188" y="408"/>
                    <a:pt x="1188" y="408"/>
                    <a:pt x="1188" y="408"/>
                  </a:cubicBezTo>
                  <a:cubicBezTo>
                    <a:pt x="1196" y="393"/>
                    <a:pt x="1196" y="371"/>
                    <a:pt x="1196" y="356"/>
                  </a:cubicBezTo>
                  <a:cubicBezTo>
                    <a:pt x="1166" y="349"/>
                    <a:pt x="1159" y="349"/>
                    <a:pt x="1137" y="334"/>
                  </a:cubicBezTo>
                  <a:cubicBezTo>
                    <a:pt x="1122" y="326"/>
                    <a:pt x="1099" y="311"/>
                    <a:pt x="1085" y="304"/>
                  </a:cubicBezTo>
                  <a:cubicBezTo>
                    <a:pt x="1085" y="282"/>
                    <a:pt x="1085" y="237"/>
                    <a:pt x="1092" y="215"/>
                  </a:cubicBezTo>
                  <a:cubicBezTo>
                    <a:pt x="1099" y="200"/>
                    <a:pt x="1114" y="200"/>
                    <a:pt x="1122" y="185"/>
                  </a:cubicBezTo>
                  <a:cubicBezTo>
                    <a:pt x="1122" y="185"/>
                    <a:pt x="1122" y="178"/>
                    <a:pt x="1122" y="163"/>
                  </a:cubicBezTo>
                  <a:cubicBezTo>
                    <a:pt x="1085" y="163"/>
                    <a:pt x="1048" y="141"/>
                    <a:pt x="1010" y="141"/>
                  </a:cubicBezTo>
                  <a:cubicBezTo>
                    <a:pt x="1010" y="96"/>
                    <a:pt x="1018" y="59"/>
                    <a:pt x="1018" y="14"/>
                  </a:cubicBezTo>
                </a:path>
              </a:pathLst>
            </a:custGeom>
            <a:grpFill/>
            <a:ln w="6350" cap="flat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lIns="60927" tIns="30463" rIns="60927" bIns="30463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30" name="Freeform 22"/>
            <p:cNvSpPr>
              <a:spLocks noChangeArrowheads="1"/>
            </p:cNvSpPr>
            <p:nvPr/>
          </p:nvSpPr>
          <p:spPr bwMode="auto">
            <a:xfrm>
              <a:off x="14863400" y="5305042"/>
              <a:ext cx="1631849" cy="1417393"/>
            </a:xfrm>
            <a:custGeom>
              <a:avLst/>
              <a:gdLst>
                <a:gd name="T0" fmla="*/ 3706 w 3774"/>
                <a:gd name="T1" fmla="*/ 839 h 3283"/>
                <a:gd name="T2" fmla="*/ 3476 w 3774"/>
                <a:gd name="T3" fmla="*/ 779 h 3283"/>
                <a:gd name="T4" fmla="*/ 3171 w 3774"/>
                <a:gd name="T5" fmla="*/ 727 h 3283"/>
                <a:gd name="T6" fmla="*/ 3052 w 3774"/>
                <a:gd name="T7" fmla="*/ 720 h 3283"/>
                <a:gd name="T8" fmla="*/ 3171 w 3774"/>
                <a:gd name="T9" fmla="*/ 490 h 3283"/>
                <a:gd name="T10" fmla="*/ 2941 w 3774"/>
                <a:gd name="T11" fmla="*/ 378 h 3283"/>
                <a:gd name="T12" fmla="*/ 2867 w 3774"/>
                <a:gd name="T13" fmla="*/ 282 h 3283"/>
                <a:gd name="T14" fmla="*/ 2926 w 3774"/>
                <a:gd name="T15" fmla="*/ 148 h 3283"/>
                <a:gd name="T16" fmla="*/ 2755 w 3774"/>
                <a:gd name="T17" fmla="*/ 29 h 3283"/>
                <a:gd name="T18" fmla="*/ 2458 w 3774"/>
                <a:gd name="T19" fmla="*/ 237 h 3283"/>
                <a:gd name="T20" fmla="*/ 2362 w 3774"/>
                <a:gd name="T21" fmla="*/ 371 h 3283"/>
                <a:gd name="T22" fmla="*/ 1857 w 3774"/>
                <a:gd name="T23" fmla="*/ 208 h 3283"/>
                <a:gd name="T24" fmla="*/ 1567 w 3774"/>
                <a:gd name="T25" fmla="*/ 505 h 3283"/>
                <a:gd name="T26" fmla="*/ 1344 w 3774"/>
                <a:gd name="T27" fmla="*/ 690 h 3283"/>
                <a:gd name="T28" fmla="*/ 1018 w 3774"/>
                <a:gd name="T29" fmla="*/ 787 h 3283"/>
                <a:gd name="T30" fmla="*/ 906 w 3774"/>
                <a:gd name="T31" fmla="*/ 1032 h 3283"/>
                <a:gd name="T32" fmla="*/ 706 w 3774"/>
                <a:gd name="T33" fmla="*/ 1188 h 3283"/>
                <a:gd name="T34" fmla="*/ 454 w 3774"/>
                <a:gd name="T35" fmla="*/ 1403 h 3283"/>
                <a:gd name="T36" fmla="*/ 305 w 3774"/>
                <a:gd name="T37" fmla="*/ 1470 h 3283"/>
                <a:gd name="T38" fmla="*/ 0 w 3774"/>
                <a:gd name="T39" fmla="*/ 1574 h 3283"/>
                <a:gd name="T40" fmla="*/ 201 w 3774"/>
                <a:gd name="T41" fmla="*/ 1730 h 3283"/>
                <a:gd name="T42" fmla="*/ 349 w 3774"/>
                <a:gd name="T43" fmla="*/ 1841 h 3283"/>
                <a:gd name="T44" fmla="*/ 386 w 3774"/>
                <a:gd name="T45" fmla="*/ 2116 h 3283"/>
                <a:gd name="T46" fmla="*/ 386 w 3774"/>
                <a:gd name="T47" fmla="*/ 2153 h 3283"/>
                <a:gd name="T48" fmla="*/ 661 w 3774"/>
                <a:gd name="T49" fmla="*/ 2072 h 3283"/>
                <a:gd name="T50" fmla="*/ 944 w 3774"/>
                <a:gd name="T51" fmla="*/ 2079 h 3283"/>
                <a:gd name="T52" fmla="*/ 1285 w 3774"/>
                <a:gd name="T53" fmla="*/ 2027 h 3283"/>
                <a:gd name="T54" fmla="*/ 1486 w 3774"/>
                <a:gd name="T55" fmla="*/ 1938 h 3283"/>
                <a:gd name="T56" fmla="*/ 1597 w 3774"/>
                <a:gd name="T57" fmla="*/ 1745 h 3283"/>
                <a:gd name="T58" fmla="*/ 1693 w 3774"/>
                <a:gd name="T59" fmla="*/ 1552 h 3283"/>
                <a:gd name="T60" fmla="*/ 1842 w 3774"/>
                <a:gd name="T61" fmla="*/ 1537 h 3283"/>
                <a:gd name="T62" fmla="*/ 2080 w 3774"/>
                <a:gd name="T63" fmla="*/ 1425 h 3283"/>
                <a:gd name="T64" fmla="*/ 2161 w 3774"/>
                <a:gd name="T65" fmla="*/ 1396 h 3283"/>
                <a:gd name="T66" fmla="*/ 2310 w 3774"/>
                <a:gd name="T67" fmla="*/ 1329 h 3283"/>
                <a:gd name="T68" fmla="*/ 2444 w 3774"/>
                <a:gd name="T69" fmla="*/ 1270 h 3283"/>
                <a:gd name="T70" fmla="*/ 2703 w 3774"/>
                <a:gd name="T71" fmla="*/ 1180 h 3283"/>
                <a:gd name="T72" fmla="*/ 2718 w 3774"/>
                <a:gd name="T73" fmla="*/ 1351 h 3283"/>
                <a:gd name="T74" fmla="*/ 2860 w 3774"/>
                <a:gd name="T75" fmla="*/ 1552 h 3283"/>
                <a:gd name="T76" fmla="*/ 2592 w 3774"/>
                <a:gd name="T77" fmla="*/ 1700 h 3283"/>
                <a:gd name="T78" fmla="*/ 2458 w 3774"/>
                <a:gd name="T79" fmla="*/ 1864 h 3283"/>
                <a:gd name="T80" fmla="*/ 2280 w 3774"/>
                <a:gd name="T81" fmla="*/ 1975 h 3283"/>
                <a:gd name="T82" fmla="*/ 2087 w 3774"/>
                <a:gd name="T83" fmla="*/ 2123 h 3283"/>
                <a:gd name="T84" fmla="*/ 1812 w 3774"/>
                <a:gd name="T85" fmla="*/ 2354 h 3283"/>
                <a:gd name="T86" fmla="*/ 1612 w 3774"/>
                <a:gd name="T87" fmla="*/ 2584 h 3283"/>
                <a:gd name="T88" fmla="*/ 1486 w 3774"/>
                <a:gd name="T89" fmla="*/ 2747 h 3283"/>
                <a:gd name="T90" fmla="*/ 1285 w 3774"/>
                <a:gd name="T91" fmla="*/ 2992 h 3283"/>
                <a:gd name="T92" fmla="*/ 1300 w 3774"/>
                <a:gd name="T93" fmla="*/ 3230 h 3283"/>
                <a:gd name="T94" fmla="*/ 1486 w 3774"/>
                <a:gd name="T95" fmla="*/ 3089 h 3283"/>
                <a:gd name="T96" fmla="*/ 1753 w 3774"/>
                <a:gd name="T97" fmla="*/ 3044 h 3283"/>
                <a:gd name="T98" fmla="*/ 1938 w 3774"/>
                <a:gd name="T99" fmla="*/ 2992 h 3283"/>
                <a:gd name="T100" fmla="*/ 2132 w 3774"/>
                <a:gd name="T101" fmla="*/ 3074 h 3283"/>
                <a:gd name="T102" fmla="*/ 2273 w 3774"/>
                <a:gd name="T103" fmla="*/ 2903 h 3283"/>
                <a:gd name="T104" fmla="*/ 2347 w 3774"/>
                <a:gd name="T105" fmla="*/ 2651 h 3283"/>
                <a:gd name="T106" fmla="*/ 2369 w 3774"/>
                <a:gd name="T107" fmla="*/ 2406 h 3283"/>
                <a:gd name="T108" fmla="*/ 2495 w 3774"/>
                <a:gd name="T109" fmla="*/ 2109 h 3283"/>
                <a:gd name="T110" fmla="*/ 2726 w 3774"/>
                <a:gd name="T111" fmla="*/ 1938 h 3283"/>
                <a:gd name="T112" fmla="*/ 3112 w 3774"/>
                <a:gd name="T113" fmla="*/ 1604 h 3283"/>
                <a:gd name="T114" fmla="*/ 3327 w 3774"/>
                <a:gd name="T115" fmla="*/ 1544 h 3283"/>
                <a:gd name="T116" fmla="*/ 3483 w 3774"/>
                <a:gd name="T117" fmla="*/ 1626 h 3283"/>
                <a:gd name="T118" fmla="*/ 3587 w 3774"/>
                <a:gd name="T119" fmla="*/ 1537 h 3283"/>
                <a:gd name="T120" fmla="*/ 3491 w 3774"/>
                <a:gd name="T121" fmla="*/ 1284 h 3283"/>
                <a:gd name="T122" fmla="*/ 3765 w 3774"/>
                <a:gd name="T123" fmla="*/ 995 h 3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774" h="3283">
                  <a:moveTo>
                    <a:pt x="3773" y="995"/>
                  </a:moveTo>
                  <a:lnTo>
                    <a:pt x="3773" y="995"/>
                  </a:lnTo>
                  <a:cubicBezTo>
                    <a:pt x="3773" y="965"/>
                    <a:pt x="3743" y="965"/>
                    <a:pt x="3728" y="943"/>
                  </a:cubicBezTo>
                  <a:cubicBezTo>
                    <a:pt x="3728" y="928"/>
                    <a:pt x="3728" y="905"/>
                    <a:pt x="3728" y="891"/>
                  </a:cubicBezTo>
                  <a:cubicBezTo>
                    <a:pt x="3736" y="861"/>
                    <a:pt x="3728" y="854"/>
                    <a:pt x="3706" y="839"/>
                  </a:cubicBezTo>
                  <a:cubicBezTo>
                    <a:pt x="3684" y="831"/>
                    <a:pt x="3669" y="824"/>
                    <a:pt x="3669" y="802"/>
                  </a:cubicBezTo>
                  <a:cubicBezTo>
                    <a:pt x="3654" y="794"/>
                    <a:pt x="3647" y="794"/>
                    <a:pt x="3639" y="779"/>
                  </a:cubicBezTo>
                  <a:cubicBezTo>
                    <a:pt x="3632" y="772"/>
                    <a:pt x="3624" y="757"/>
                    <a:pt x="3610" y="750"/>
                  </a:cubicBezTo>
                  <a:cubicBezTo>
                    <a:pt x="3595" y="742"/>
                    <a:pt x="3550" y="750"/>
                    <a:pt x="3535" y="750"/>
                  </a:cubicBezTo>
                  <a:cubicBezTo>
                    <a:pt x="3513" y="757"/>
                    <a:pt x="3498" y="779"/>
                    <a:pt x="3476" y="779"/>
                  </a:cubicBezTo>
                  <a:cubicBezTo>
                    <a:pt x="3461" y="779"/>
                    <a:pt x="3453" y="757"/>
                    <a:pt x="3439" y="750"/>
                  </a:cubicBezTo>
                  <a:cubicBezTo>
                    <a:pt x="3424" y="750"/>
                    <a:pt x="3416" y="750"/>
                    <a:pt x="3409" y="757"/>
                  </a:cubicBezTo>
                  <a:cubicBezTo>
                    <a:pt x="3372" y="765"/>
                    <a:pt x="3357" y="772"/>
                    <a:pt x="3327" y="750"/>
                  </a:cubicBezTo>
                  <a:cubicBezTo>
                    <a:pt x="3305" y="735"/>
                    <a:pt x="3275" y="705"/>
                    <a:pt x="3246" y="705"/>
                  </a:cubicBezTo>
                  <a:cubicBezTo>
                    <a:pt x="3223" y="698"/>
                    <a:pt x="3194" y="720"/>
                    <a:pt x="3171" y="727"/>
                  </a:cubicBezTo>
                  <a:cubicBezTo>
                    <a:pt x="3149" y="735"/>
                    <a:pt x="3119" y="750"/>
                    <a:pt x="3112" y="765"/>
                  </a:cubicBezTo>
                  <a:cubicBezTo>
                    <a:pt x="3090" y="779"/>
                    <a:pt x="3105" y="794"/>
                    <a:pt x="3097" y="816"/>
                  </a:cubicBezTo>
                  <a:cubicBezTo>
                    <a:pt x="3082" y="809"/>
                    <a:pt x="3067" y="809"/>
                    <a:pt x="3052" y="802"/>
                  </a:cubicBezTo>
                  <a:cubicBezTo>
                    <a:pt x="3038" y="802"/>
                    <a:pt x="3023" y="802"/>
                    <a:pt x="3008" y="802"/>
                  </a:cubicBezTo>
                  <a:cubicBezTo>
                    <a:pt x="3000" y="757"/>
                    <a:pt x="3060" y="757"/>
                    <a:pt x="3052" y="720"/>
                  </a:cubicBezTo>
                  <a:cubicBezTo>
                    <a:pt x="3030" y="720"/>
                    <a:pt x="3038" y="668"/>
                    <a:pt x="3045" y="653"/>
                  </a:cubicBezTo>
                  <a:cubicBezTo>
                    <a:pt x="3067" y="653"/>
                    <a:pt x="3075" y="631"/>
                    <a:pt x="3090" y="623"/>
                  </a:cubicBezTo>
                  <a:cubicBezTo>
                    <a:pt x="3112" y="594"/>
                    <a:pt x="3097" y="608"/>
                    <a:pt x="3097" y="579"/>
                  </a:cubicBezTo>
                  <a:cubicBezTo>
                    <a:pt x="3097" y="534"/>
                    <a:pt x="3149" y="534"/>
                    <a:pt x="3164" y="512"/>
                  </a:cubicBezTo>
                  <a:cubicBezTo>
                    <a:pt x="3171" y="505"/>
                    <a:pt x="3171" y="490"/>
                    <a:pt x="3171" y="490"/>
                  </a:cubicBezTo>
                  <a:cubicBezTo>
                    <a:pt x="3179" y="482"/>
                    <a:pt x="3194" y="490"/>
                    <a:pt x="3194" y="475"/>
                  </a:cubicBezTo>
                  <a:cubicBezTo>
                    <a:pt x="3201" y="460"/>
                    <a:pt x="3142" y="430"/>
                    <a:pt x="3134" y="415"/>
                  </a:cubicBezTo>
                  <a:cubicBezTo>
                    <a:pt x="3119" y="400"/>
                    <a:pt x="3097" y="371"/>
                    <a:pt x="3090" y="349"/>
                  </a:cubicBezTo>
                  <a:cubicBezTo>
                    <a:pt x="3082" y="326"/>
                    <a:pt x="3090" y="311"/>
                    <a:pt x="3082" y="289"/>
                  </a:cubicBezTo>
                  <a:cubicBezTo>
                    <a:pt x="3015" y="282"/>
                    <a:pt x="2949" y="311"/>
                    <a:pt x="2941" y="378"/>
                  </a:cubicBezTo>
                  <a:cubicBezTo>
                    <a:pt x="2941" y="393"/>
                    <a:pt x="2949" y="415"/>
                    <a:pt x="2926" y="423"/>
                  </a:cubicBezTo>
                  <a:cubicBezTo>
                    <a:pt x="2911" y="430"/>
                    <a:pt x="2904" y="423"/>
                    <a:pt x="2897" y="408"/>
                  </a:cubicBezTo>
                  <a:cubicBezTo>
                    <a:pt x="2889" y="378"/>
                    <a:pt x="2919" y="356"/>
                    <a:pt x="2904" y="326"/>
                  </a:cubicBezTo>
                  <a:cubicBezTo>
                    <a:pt x="2889" y="326"/>
                    <a:pt x="2867" y="319"/>
                    <a:pt x="2852" y="319"/>
                  </a:cubicBezTo>
                  <a:cubicBezTo>
                    <a:pt x="2852" y="304"/>
                    <a:pt x="2867" y="297"/>
                    <a:pt x="2867" y="282"/>
                  </a:cubicBezTo>
                  <a:cubicBezTo>
                    <a:pt x="2874" y="282"/>
                    <a:pt x="2889" y="274"/>
                    <a:pt x="2889" y="282"/>
                  </a:cubicBezTo>
                  <a:cubicBezTo>
                    <a:pt x="2897" y="267"/>
                    <a:pt x="2934" y="200"/>
                    <a:pt x="2949" y="200"/>
                  </a:cubicBezTo>
                  <a:cubicBezTo>
                    <a:pt x="2963" y="193"/>
                    <a:pt x="2978" y="208"/>
                    <a:pt x="2986" y="185"/>
                  </a:cubicBezTo>
                  <a:cubicBezTo>
                    <a:pt x="2993" y="178"/>
                    <a:pt x="2978" y="155"/>
                    <a:pt x="2986" y="148"/>
                  </a:cubicBezTo>
                  <a:cubicBezTo>
                    <a:pt x="2963" y="133"/>
                    <a:pt x="2949" y="148"/>
                    <a:pt x="2926" y="148"/>
                  </a:cubicBezTo>
                  <a:cubicBezTo>
                    <a:pt x="2897" y="155"/>
                    <a:pt x="2882" y="133"/>
                    <a:pt x="2867" y="103"/>
                  </a:cubicBezTo>
                  <a:cubicBezTo>
                    <a:pt x="2860" y="89"/>
                    <a:pt x="2867" y="96"/>
                    <a:pt x="2852" y="81"/>
                  </a:cubicBezTo>
                  <a:cubicBezTo>
                    <a:pt x="2845" y="66"/>
                    <a:pt x="2822" y="66"/>
                    <a:pt x="2815" y="52"/>
                  </a:cubicBezTo>
                  <a:cubicBezTo>
                    <a:pt x="2800" y="37"/>
                    <a:pt x="2807" y="7"/>
                    <a:pt x="2778" y="0"/>
                  </a:cubicBezTo>
                  <a:cubicBezTo>
                    <a:pt x="2778" y="29"/>
                    <a:pt x="2770" y="14"/>
                    <a:pt x="2755" y="29"/>
                  </a:cubicBezTo>
                  <a:cubicBezTo>
                    <a:pt x="2741" y="37"/>
                    <a:pt x="2748" y="44"/>
                    <a:pt x="2741" y="52"/>
                  </a:cubicBezTo>
                  <a:cubicBezTo>
                    <a:pt x="2733" y="66"/>
                    <a:pt x="2718" y="66"/>
                    <a:pt x="2711" y="66"/>
                  </a:cubicBezTo>
                  <a:cubicBezTo>
                    <a:pt x="2674" y="89"/>
                    <a:pt x="2644" y="111"/>
                    <a:pt x="2607" y="126"/>
                  </a:cubicBezTo>
                  <a:cubicBezTo>
                    <a:pt x="2570" y="148"/>
                    <a:pt x="2533" y="163"/>
                    <a:pt x="2503" y="193"/>
                  </a:cubicBezTo>
                  <a:cubicBezTo>
                    <a:pt x="2488" y="200"/>
                    <a:pt x="2458" y="215"/>
                    <a:pt x="2458" y="237"/>
                  </a:cubicBezTo>
                  <a:cubicBezTo>
                    <a:pt x="2458" y="245"/>
                    <a:pt x="2473" y="245"/>
                    <a:pt x="2473" y="260"/>
                  </a:cubicBezTo>
                  <a:cubicBezTo>
                    <a:pt x="2473" y="267"/>
                    <a:pt x="2473" y="274"/>
                    <a:pt x="2473" y="282"/>
                  </a:cubicBezTo>
                  <a:cubicBezTo>
                    <a:pt x="2466" y="282"/>
                    <a:pt x="2451" y="282"/>
                    <a:pt x="2436" y="282"/>
                  </a:cubicBezTo>
                  <a:cubicBezTo>
                    <a:pt x="2451" y="304"/>
                    <a:pt x="2444" y="334"/>
                    <a:pt x="2429" y="349"/>
                  </a:cubicBezTo>
                  <a:cubicBezTo>
                    <a:pt x="2414" y="363"/>
                    <a:pt x="2384" y="363"/>
                    <a:pt x="2362" y="371"/>
                  </a:cubicBezTo>
                  <a:cubicBezTo>
                    <a:pt x="2332" y="371"/>
                    <a:pt x="2303" y="349"/>
                    <a:pt x="2273" y="326"/>
                  </a:cubicBezTo>
                  <a:cubicBezTo>
                    <a:pt x="2243" y="311"/>
                    <a:pt x="2221" y="304"/>
                    <a:pt x="2184" y="304"/>
                  </a:cubicBezTo>
                  <a:cubicBezTo>
                    <a:pt x="2154" y="304"/>
                    <a:pt x="2132" y="311"/>
                    <a:pt x="2102" y="311"/>
                  </a:cubicBezTo>
                  <a:cubicBezTo>
                    <a:pt x="2058" y="319"/>
                    <a:pt x="2043" y="311"/>
                    <a:pt x="2005" y="282"/>
                  </a:cubicBezTo>
                  <a:cubicBezTo>
                    <a:pt x="1961" y="252"/>
                    <a:pt x="1916" y="208"/>
                    <a:pt x="1857" y="208"/>
                  </a:cubicBezTo>
                  <a:cubicBezTo>
                    <a:pt x="1857" y="245"/>
                    <a:pt x="1857" y="267"/>
                    <a:pt x="1820" y="282"/>
                  </a:cubicBezTo>
                  <a:cubicBezTo>
                    <a:pt x="1790" y="297"/>
                    <a:pt x="1760" y="289"/>
                    <a:pt x="1731" y="304"/>
                  </a:cubicBezTo>
                  <a:cubicBezTo>
                    <a:pt x="1693" y="319"/>
                    <a:pt x="1686" y="349"/>
                    <a:pt x="1656" y="371"/>
                  </a:cubicBezTo>
                  <a:cubicBezTo>
                    <a:pt x="1634" y="386"/>
                    <a:pt x="1612" y="408"/>
                    <a:pt x="1604" y="430"/>
                  </a:cubicBezTo>
                  <a:cubicBezTo>
                    <a:pt x="1597" y="445"/>
                    <a:pt x="1582" y="497"/>
                    <a:pt x="1567" y="505"/>
                  </a:cubicBezTo>
                  <a:cubicBezTo>
                    <a:pt x="1560" y="505"/>
                    <a:pt x="1515" y="497"/>
                    <a:pt x="1508" y="505"/>
                  </a:cubicBezTo>
                  <a:cubicBezTo>
                    <a:pt x="1501" y="519"/>
                    <a:pt x="1530" y="534"/>
                    <a:pt x="1523" y="557"/>
                  </a:cubicBezTo>
                  <a:cubicBezTo>
                    <a:pt x="1523" y="571"/>
                    <a:pt x="1456" y="594"/>
                    <a:pt x="1441" y="601"/>
                  </a:cubicBezTo>
                  <a:cubicBezTo>
                    <a:pt x="1448" y="631"/>
                    <a:pt x="1404" y="646"/>
                    <a:pt x="1382" y="660"/>
                  </a:cubicBezTo>
                  <a:cubicBezTo>
                    <a:pt x="1367" y="668"/>
                    <a:pt x="1359" y="675"/>
                    <a:pt x="1344" y="690"/>
                  </a:cubicBezTo>
                  <a:cubicBezTo>
                    <a:pt x="1337" y="698"/>
                    <a:pt x="1322" y="720"/>
                    <a:pt x="1307" y="727"/>
                  </a:cubicBezTo>
                  <a:cubicBezTo>
                    <a:pt x="1285" y="735"/>
                    <a:pt x="1263" y="720"/>
                    <a:pt x="1241" y="727"/>
                  </a:cubicBezTo>
                  <a:cubicBezTo>
                    <a:pt x="1218" y="727"/>
                    <a:pt x="1211" y="735"/>
                    <a:pt x="1196" y="742"/>
                  </a:cubicBezTo>
                  <a:cubicBezTo>
                    <a:pt x="1166" y="757"/>
                    <a:pt x="1137" y="765"/>
                    <a:pt x="1107" y="779"/>
                  </a:cubicBezTo>
                  <a:cubicBezTo>
                    <a:pt x="1077" y="794"/>
                    <a:pt x="1048" y="779"/>
                    <a:pt x="1018" y="787"/>
                  </a:cubicBezTo>
                  <a:cubicBezTo>
                    <a:pt x="988" y="794"/>
                    <a:pt x="996" y="831"/>
                    <a:pt x="996" y="861"/>
                  </a:cubicBezTo>
                  <a:cubicBezTo>
                    <a:pt x="996" y="891"/>
                    <a:pt x="996" y="913"/>
                    <a:pt x="981" y="943"/>
                  </a:cubicBezTo>
                  <a:cubicBezTo>
                    <a:pt x="973" y="957"/>
                    <a:pt x="966" y="972"/>
                    <a:pt x="958" y="980"/>
                  </a:cubicBezTo>
                  <a:cubicBezTo>
                    <a:pt x="951" y="987"/>
                    <a:pt x="936" y="995"/>
                    <a:pt x="929" y="1002"/>
                  </a:cubicBezTo>
                  <a:cubicBezTo>
                    <a:pt x="921" y="1017"/>
                    <a:pt x="921" y="1024"/>
                    <a:pt x="906" y="1032"/>
                  </a:cubicBezTo>
                  <a:cubicBezTo>
                    <a:pt x="891" y="1047"/>
                    <a:pt x="877" y="1047"/>
                    <a:pt x="862" y="1054"/>
                  </a:cubicBezTo>
                  <a:cubicBezTo>
                    <a:pt x="854" y="1069"/>
                    <a:pt x="854" y="1084"/>
                    <a:pt x="840" y="1091"/>
                  </a:cubicBezTo>
                  <a:cubicBezTo>
                    <a:pt x="825" y="1099"/>
                    <a:pt x="817" y="1106"/>
                    <a:pt x="802" y="1113"/>
                  </a:cubicBezTo>
                  <a:cubicBezTo>
                    <a:pt x="780" y="1121"/>
                    <a:pt x="736" y="1128"/>
                    <a:pt x="721" y="1151"/>
                  </a:cubicBezTo>
                  <a:cubicBezTo>
                    <a:pt x="713" y="1165"/>
                    <a:pt x="721" y="1173"/>
                    <a:pt x="706" y="1188"/>
                  </a:cubicBezTo>
                  <a:cubicBezTo>
                    <a:pt x="699" y="1202"/>
                    <a:pt x="669" y="1210"/>
                    <a:pt x="676" y="1232"/>
                  </a:cubicBezTo>
                  <a:cubicBezTo>
                    <a:pt x="691" y="1240"/>
                    <a:pt x="713" y="1247"/>
                    <a:pt x="721" y="1262"/>
                  </a:cubicBezTo>
                  <a:cubicBezTo>
                    <a:pt x="765" y="1329"/>
                    <a:pt x="587" y="1344"/>
                    <a:pt x="594" y="1403"/>
                  </a:cubicBezTo>
                  <a:cubicBezTo>
                    <a:pt x="572" y="1418"/>
                    <a:pt x="535" y="1396"/>
                    <a:pt x="505" y="1410"/>
                  </a:cubicBezTo>
                  <a:cubicBezTo>
                    <a:pt x="476" y="1433"/>
                    <a:pt x="468" y="1455"/>
                    <a:pt x="454" y="1403"/>
                  </a:cubicBezTo>
                  <a:cubicBezTo>
                    <a:pt x="439" y="1403"/>
                    <a:pt x="431" y="1403"/>
                    <a:pt x="416" y="1403"/>
                  </a:cubicBezTo>
                  <a:cubicBezTo>
                    <a:pt x="416" y="1403"/>
                    <a:pt x="416" y="1403"/>
                    <a:pt x="424" y="1403"/>
                  </a:cubicBezTo>
                  <a:cubicBezTo>
                    <a:pt x="424" y="1418"/>
                    <a:pt x="424" y="1425"/>
                    <a:pt x="424" y="1440"/>
                  </a:cubicBezTo>
                  <a:cubicBezTo>
                    <a:pt x="386" y="1440"/>
                    <a:pt x="372" y="1433"/>
                    <a:pt x="342" y="1448"/>
                  </a:cubicBezTo>
                  <a:cubicBezTo>
                    <a:pt x="327" y="1455"/>
                    <a:pt x="312" y="1455"/>
                    <a:pt x="305" y="1470"/>
                  </a:cubicBezTo>
                  <a:cubicBezTo>
                    <a:pt x="290" y="1485"/>
                    <a:pt x="290" y="1500"/>
                    <a:pt x="275" y="1507"/>
                  </a:cubicBezTo>
                  <a:cubicBezTo>
                    <a:pt x="268" y="1515"/>
                    <a:pt x="253" y="1515"/>
                    <a:pt x="238" y="1507"/>
                  </a:cubicBezTo>
                  <a:cubicBezTo>
                    <a:pt x="208" y="1500"/>
                    <a:pt x="171" y="1492"/>
                    <a:pt x="141" y="1492"/>
                  </a:cubicBezTo>
                  <a:cubicBezTo>
                    <a:pt x="104" y="1492"/>
                    <a:pt x="67" y="1485"/>
                    <a:pt x="38" y="1485"/>
                  </a:cubicBezTo>
                  <a:cubicBezTo>
                    <a:pt x="30" y="1515"/>
                    <a:pt x="38" y="1567"/>
                    <a:pt x="0" y="1574"/>
                  </a:cubicBezTo>
                  <a:cubicBezTo>
                    <a:pt x="8" y="1589"/>
                    <a:pt x="23" y="1604"/>
                    <a:pt x="30" y="1618"/>
                  </a:cubicBezTo>
                  <a:cubicBezTo>
                    <a:pt x="38" y="1633"/>
                    <a:pt x="30" y="1656"/>
                    <a:pt x="38" y="1670"/>
                  </a:cubicBezTo>
                  <a:cubicBezTo>
                    <a:pt x="52" y="1685"/>
                    <a:pt x="75" y="1693"/>
                    <a:pt x="97" y="1700"/>
                  </a:cubicBezTo>
                  <a:cubicBezTo>
                    <a:pt x="127" y="1715"/>
                    <a:pt x="119" y="1722"/>
                    <a:pt x="134" y="1752"/>
                  </a:cubicBezTo>
                  <a:cubicBezTo>
                    <a:pt x="149" y="1722"/>
                    <a:pt x="164" y="1730"/>
                    <a:pt x="201" y="1730"/>
                  </a:cubicBezTo>
                  <a:cubicBezTo>
                    <a:pt x="231" y="1730"/>
                    <a:pt x="246" y="1715"/>
                    <a:pt x="268" y="1700"/>
                  </a:cubicBezTo>
                  <a:cubicBezTo>
                    <a:pt x="297" y="1685"/>
                    <a:pt x="297" y="1707"/>
                    <a:pt x="312" y="1730"/>
                  </a:cubicBezTo>
                  <a:cubicBezTo>
                    <a:pt x="327" y="1745"/>
                    <a:pt x="342" y="1767"/>
                    <a:pt x="357" y="1782"/>
                  </a:cubicBezTo>
                  <a:cubicBezTo>
                    <a:pt x="364" y="1789"/>
                    <a:pt x="379" y="1812"/>
                    <a:pt x="372" y="1819"/>
                  </a:cubicBezTo>
                  <a:cubicBezTo>
                    <a:pt x="372" y="1826"/>
                    <a:pt x="349" y="1826"/>
                    <a:pt x="349" y="1841"/>
                  </a:cubicBezTo>
                  <a:cubicBezTo>
                    <a:pt x="342" y="1849"/>
                    <a:pt x="349" y="1864"/>
                    <a:pt x="342" y="1871"/>
                  </a:cubicBezTo>
                  <a:cubicBezTo>
                    <a:pt x="335" y="1886"/>
                    <a:pt x="320" y="1878"/>
                    <a:pt x="312" y="1893"/>
                  </a:cubicBezTo>
                  <a:cubicBezTo>
                    <a:pt x="305" y="1901"/>
                    <a:pt x="297" y="1945"/>
                    <a:pt x="305" y="1953"/>
                  </a:cubicBezTo>
                  <a:cubicBezTo>
                    <a:pt x="312" y="1975"/>
                    <a:pt x="357" y="1997"/>
                    <a:pt x="372" y="2005"/>
                  </a:cubicBezTo>
                  <a:cubicBezTo>
                    <a:pt x="379" y="2049"/>
                    <a:pt x="409" y="2072"/>
                    <a:pt x="386" y="2116"/>
                  </a:cubicBezTo>
                  <a:cubicBezTo>
                    <a:pt x="379" y="2153"/>
                    <a:pt x="335" y="2153"/>
                    <a:pt x="305" y="2153"/>
                  </a:cubicBezTo>
                  <a:cubicBezTo>
                    <a:pt x="305" y="2146"/>
                    <a:pt x="305" y="2138"/>
                    <a:pt x="305" y="2138"/>
                  </a:cubicBezTo>
                  <a:cubicBezTo>
                    <a:pt x="297" y="2138"/>
                    <a:pt x="283" y="2131"/>
                    <a:pt x="268" y="2131"/>
                  </a:cubicBezTo>
                  <a:cubicBezTo>
                    <a:pt x="283" y="2146"/>
                    <a:pt x="297" y="2153"/>
                    <a:pt x="312" y="2153"/>
                  </a:cubicBezTo>
                  <a:cubicBezTo>
                    <a:pt x="342" y="2161"/>
                    <a:pt x="364" y="2161"/>
                    <a:pt x="386" y="2153"/>
                  </a:cubicBezTo>
                  <a:cubicBezTo>
                    <a:pt x="409" y="2146"/>
                    <a:pt x="424" y="2146"/>
                    <a:pt x="446" y="2138"/>
                  </a:cubicBezTo>
                  <a:cubicBezTo>
                    <a:pt x="461" y="2138"/>
                    <a:pt x="476" y="2131"/>
                    <a:pt x="491" y="2131"/>
                  </a:cubicBezTo>
                  <a:cubicBezTo>
                    <a:pt x="505" y="2131"/>
                    <a:pt x="513" y="2116"/>
                    <a:pt x="528" y="2116"/>
                  </a:cubicBezTo>
                  <a:cubicBezTo>
                    <a:pt x="543" y="2109"/>
                    <a:pt x="565" y="2109"/>
                    <a:pt x="580" y="2109"/>
                  </a:cubicBezTo>
                  <a:cubicBezTo>
                    <a:pt x="609" y="2101"/>
                    <a:pt x="632" y="2086"/>
                    <a:pt x="661" y="2072"/>
                  </a:cubicBezTo>
                  <a:cubicBezTo>
                    <a:pt x="669" y="2072"/>
                    <a:pt x="676" y="2057"/>
                    <a:pt x="684" y="2057"/>
                  </a:cubicBezTo>
                  <a:cubicBezTo>
                    <a:pt x="699" y="2057"/>
                    <a:pt x="706" y="2057"/>
                    <a:pt x="713" y="2057"/>
                  </a:cubicBezTo>
                  <a:cubicBezTo>
                    <a:pt x="736" y="2049"/>
                    <a:pt x="736" y="2027"/>
                    <a:pt x="758" y="2027"/>
                  </a:cubicBezTo>
                  <a:cubicBezTo>
                    <a:pt x="802" y="2027"/>
                    <a:pt x="840" y="2042"/>
                    <a:pt x="877" y="2049"/>
                  </a:cubicBezTo>
                  <a:cubicBezTo>
                    <a:pt x="899" y="2057"/>
                    <a:pt x="921" y="2064"/>
                    <a:pt x="944" y="2079"/>
                  </a:cubicBezTo>
                  <a:cubicBezTo>
                    <a:pt x="973" y="2094"/>
                    <a:pt x="996" y="2086"/>
                    <a:pt x="1025" y="2086"/>
                  </a:cubicBezTo>
                  <a:cubicBezTo>
                    <a:pt x="1048" y="2079"/>
                    <a:pt x="1077" y="2079"/>
                    <a:pt x="1092" y="2072"/>
                  </a:cubicBezTo>
                  <a:cubicBezTo>
                    <a:pt x="1122" y="2042"/>
                    <a:pt x="1159" y="2042"/>
                    <a:pt x="1203" y="2049"/>
                  </a:cubicBezTo>
                  <a:cubicBezTo>
                    <a:pt x="1218" y="2049"/>
                    <a:pt x="1241" y="2049"/>
                    <a:pt x="1256" y="2042"/>
                  </a:cubicBezTo>
                  <a:cubicBezTo>
                    <a:pt x="1270" y="2034"/>
                    <a:pt x="1270" y="2027"/>
                    <a:pt x="1285" y="2027"/>
                  </a:cubicBezTo>
                  <a:cubicBezTo>
                    <a:pt x="1293" y="2027"/>
                    <a:pt x="1300" y="2027"/>
                    <a:pt x="1307" y="2027"/>
                  </a:cubicBezTo>
                  <a:cubicBezTo>
                    <a:pt x="1330" y="2027"/>
                    <a:pt x="1352" y="2027"/>
                    <a:pt x="1367" y="2027"/>
                  </a:cubicBezTo>
                  <a:cubicBezTo>
                    <a:pt x="1389" y="2019"/>
                    <a:pt x="1404" y="2012"/>
                    <a:pt x="1419" y="1997"/>
                  </a:cubicBezTo>
                  <a:cubicBezTo>
                    <a:pt x="1426" y="1982"/>
                    <a:pt x="1434" y="1967"/>
                    <a:pt x="1441" y="1953"/>
                  </a:cubicBezTo>
                  <a:cubicBezTo>
                    <a:pt x="1456" y="1938"/>
                    <a:pt x="1463" y="1938"/>
                    <a:pt x="1486" y="1938"/>
                  </a:cubicBezTo>
                  <a:cubicBezTo>
                    <a:pt x="1486" y="1923"/>
                    <a:pt x="1478" y="1908"/>
                    <a:pt x="1486" y="1893"/>
                  </a:cubicBezTo>
                  <a:cubicBezTo>
                    <a:pt x="1486" y="1871"/>
                    <a:pt x="1493" y="1856"/>
                    <a:pt x="1501" y="1849"/>
                  </a:cubicBezTo>
                  <a:cubicBezTo>
                    <a:pt x="1523" y="1819"/>
                    <a:pt x="1538" y="1797"/>
                    <a:pt x="1560" y="1774"/>
                  </a:cubicBezTo>
                  <a:cubicBezTo>
                    <a:pt x="1567" y="1767"/>
                    <a:pt x="1575" y="1760"/>
                    <a:pt x="1582" y="1760"/>
                  </a:cubicBezTo>
                  <a:cubicBezTo>
                    <a:pt x="1582" y="1752"/>
                    <a:pt x="1590" y="1745"/>
                    <a:pt x="1597" y="1745"/>
                  </a:cubicBezTo>
                  <a:cubicBezTo>
                    <a:pt x="1604" y="1730"/>
                    <a:pt x="1619" y="1722"/>
                    <a:pt x="1634" y="1707"/>
                  </a:cubicBezTo>
                  <a:cubicBezTo>
                    <a:pt x="1642" y="1700"/>
                    <a:pt x="1656" y="1685"/>
                    <a:pt x="1664" y="1678"/>
                  </a:cubicBezTo>
                  <a:cubicBezTo>
                    <a:pt x="1679" y="1663"/>
                    <a:pt x="1686" y="1641"/>
                    <a:pt x="1701" y="1641"/>
                  </a:cubicBezTo>
                  <a:cubicBezTo>
                    <a:pt x="1701" y="1641"/>
                    <a:pt x="1701" y="1641"/>
                    <a:pt x="1708" y="1633"/>
                  </a:cubicBezTo>
                  <a:cubicBezTo>
                    <a:pt x="1708" y="1618"/>
                    <a:pt x="1708" y="1567"/>
                    <a:pt x="1693" y="1552"/>
                  </a:cubicBezTo>
                  <a:cubicBezTo>
                    <a:pt x="1686" y="1544"/>
                    <a:pt x="1679" y="1552"/>
                    <a:pt x="1679" y="1537"/>
                  </a:cubicBezTo>
                  <a:cubicBezTo>
                    <a:pt x="1679" y="1529"/>
                    <a:pt x="1679" y="1522"/>
                    <a:pt x="1686" y="1515"/>
                  </a:cubicBezTo>
                  <a:cubicBezTo>
                    <a:pt x="1701" y="1515"/>
                    <a:pt x="1731" y="1529"/>
                    <a:pt x="1738" y="1529"/>
                  </a:cubicBezTo>
                  <a:cubicBezTo>
                    <a:pt x="1753" y="1537"/>
                    <a:pt x="1775" y="1559"/>
                    <a:pt x="1790" y="1559"/>
                  </a:cubicBezTo>
                  <a:cubicBezTo>
                    <a:pt x="1812" y="1559"/>
                    <a:pt x="1827" y="1544"/>
                    <a:pt x="1842" y="1537"/>
                  </a:cubicBezTo>
                  <a:cubicBezTo>
                    <a:pt x="1857" y="1529"/>
                    <a:pt x="1887" y="1544"/>
                    <a:pt x="1887" y="1522"/>
                  </a:cubicBezTo>
                  <a:cubicBezTo>
                    <a:pt x="1909" y="1515"/>
                    <a:pt x="1924" y="1529"/>
                    <a:pt x="1946" y="1507"/>
                  </a:cubicBezTo>
                  <a:cubicBezTo>
                    <a:pt x="1961" y="1500"/>
                    <a:pt x="1983" y="1485"/>
                    <a:pt x="2005" y="1477"/>
                  </a:cubicBezTo>
                  <a:cubicBezTo>
                    <a:pt x="2020" y="1470"/>
                    <a:pt x="2035" y="1462"/>
                    <a:pt x="2050" y="1448"/>
                  </a:cubicBezTo>
                  <a:cubicBezTo>
                    <a:pt x="2058" y="1440"/>
                    <a:pt x="2065" y="1433"/>
                    <a:pt x="2080" y="1425"/>
                  </a:cubicBezTo>
                  <a:cubicBezTo>
                    <a:pt x="2080" y="1425"/>
                    <a:pt x="2095" y="1425"/>
                    <a:pt x="2095" y="1418"/>
                  </a:cubicBezTo>
                  <a:cubicBezTo>
                    <a:pt x="2102" y="1418"/>
                    <a:pt x="2102" y="1418"/>
                    <a:pt x="2109" y="1418"/>
                  </a:cubicBezTo>
                  <a:lnTo>
                    <a:pt x="2109" y="1410"/>
                  </a:lnTo>
                  <a:cubicBezTo>
                    <a:pt x="2124" y="1403"/>
                    <a:pt x="2117" y="1403"/>
                    <a:pt x="2132" y="1396"/>
                  </a:cubicBezTo>
                  <a:cubicBezTo>
                    <a:pt x="2139" y="1396"/>
                    <a:pt x="2154" y="1396"/>
                    <a:pt x="2161" y="1396"/>
                  </a:cubicBezTo>
                  <a:cubicBezTo>
                    <a:pt x="2169" y="1388"/>
                    <a:pt x="2169" y="1381"/>
                    <a:pt x="2184" y="1373"/>
                  </a:cubicBezTo>
                  <a:cubicBezTo>
                    <a:pt x="2191" y="1373"/>
                    <a:pt x="2191" y="1373"/>
                    <a:pt x="2206" y="1366"/>
                  </a:cubicBezTo>
                  <a:cubicBezTo>
                    <a:pt x="2221" y="1351"/>
                    <a:pt x="2236" y="1359"/>
                    <a:pt x="2258" y="1351"/>
                  </a:cubicBezTo>
                  <a:cubicBezTo>
                    <a:pt x="2265" y="1344"/>
                    <a:pt x="2273" y="1336"/>
                    <a:pt x="2280" y="1336"/>
                  </a:cubicBezTo>
                  <a:cubicBezTo>
                    <a:pt x="2288" y="1329"/>
                    <a:pt x="2303" y="1329"/>
                    <a:pt x="2310" y="1329"/>
                  </a:cubicBezTo>
                  <a:cubicBezTo>
                    <a:pt x="2317" y="1321"/>
                    <a:pt x="2325" y="1321"/>
                    <a:pt x="2332" y="1314"/>
                  </a:cubicBezTo>
                  <a:cubicBezTo>
                    <a:pt x="2340" y="1307"/>
                    <a:pt x="2340" y="1299"/>
                    <a:pt x="2355" y="1292"/>
                  </a:cubicBezTo>
                  <a:cubicBezTo>
                    <a:pt x="2362" y="1292"/>
                    <a:pt x="2369" y="1299"/>
                    <a:pt x="2377" y="1292"/>
                  </a:cubicBezTo>
                  <a:cubicBezTo>
                    <a:pt x="2384" y="1292"/>
                    <a:pt x="2384" y="1277"/>
                    <a:pt x="2392" y="1277"/>
                  </a:cubicBezTo>
                  <a:cubicBezTo>
                    <a:pt x="2406" y="1270"/>
                    <a:pt x="2429" y="1270"/>
                    <a:pt x="2444" y="1270"/>
                  </a:cubicBezTo>
                  <a:cubicBezTo>
                    <a:pt x="2458" y="1262"/>
                    <a:pt x="2488" y="1262"/>
                    <a:pt x="2503" y="1255"/>
                  </a:cubicBezTo>
                  <a:cubicBezTo>
                    <a:pt x="2518" y="1240"/>
                    <a:pt x="2525" y="1232"/>
                    <a:pt x="2548" y="1225"/>
                  </a:cubicBezTo>
                  <a:cubicBezTo>
                    <a:pt x="2570" y="1225"/>
                    <a:pt x="2570" y="1225"/>
                    <a:pt x="2592" y="1202"/>
                  </a:cubicBezTo>
                  <a:cubicBezTo>
                    <a:pt x="2607" y="1188"/>
                    <a:pt x="2622" y="1188"/>
                    <a:pt x="2644" y="1188"/>
                  </a:cubicBezTo>
                  <a:cubicBezTo>
                    <a:pt x="2666" y="1188"/>
                    <a:pt x="2681" y="1180"/>
                    <a:pt x="2703" y="1180"/>
                  </a:cubicBezTo>
                  <a:cubicBezTo>
                    <a:pt x="2726" y="1173"/>
                    <a:pt x="2793" y="1158"/>
                    <a:pt x="2807" y="1188"/>
                  </a:cubicBezTo>
                  <a:cubicBezTo>
                    <a:pt x="2815" y="1202"/>
                    <a:pt x="2793" y="1217"/>
                    <a:pt x="2785" y="1232"/>
                  </a:cubicBezTo>
                  <a:cubicBezTo>
                    <a:pt x="2778" y="1247"/>
                    <a:pt x="2770" y="1255"/>
                    <a:pt x="2755" y="1262"/>
                  </a:cubicBezTo>
                  <a:cubicBezTo>
                    <a:pt x="2748" y="1270"/>
                    <a:pt x="2733" y="1270"/>
                    <a:pt x="2726" y="1277"/>
                  </a:cubicBezTo>
                  <a:cubicBezTo>
                    <a:pt x="2718" y="1292"/>
                    <a:pt x="2718" y="1329"/>
                    <a:pt x="2718" y="1351"/>
                  </a:cubicBezTo>
                  <a:cubicBezTo>
                    <a:pt x="2718" y="1403"/>
                    <a:pt x="2718" y="1448"/>
                    <a:pt x="2770" y="1470"/>
                  </a:cubicBezTo>
                  <a:cubicBezTo>
                    <a:pt x="2770" y="1492"/>
                    <a:pt x="2770" y="1507"/>
                    <a:pt x="2778" y="1529"/>
                  </a:cubicBezTo>
                  <a:cubicBezTo>
                    <a:pt x="2785" y="1544"/>
                    <a:pt x="2793" y="1559"/>
                    <a:pt x="2793" y="1581"/>
                  </a:cubicBezTo>
                  <a:cubicBezTo>
                    <a:pt x="2807" y="1581"/>
                    <a:pt x="2822" y="1581"/>
                    <a:pt x="2837" y="1574"/>
                  </a:cubicBezTo>
                  <a:cubicBezTo>
                    <a:pt x="2845" y="1567"/>
                    <a:pt x="2845" y="1552"/>
                    <a:pt x="2860" y="1552"/>
                  </a:cubicBezTo>
                  <a:cubicBezTo>
                    <a:pt x="2882" y="1544"/>
                    <a:pt x="2874" y="1596"/>
                    <a:pt x="2874" y="1611"/>
                  </a:cubicBezTo>
                  <a:cubicBezTo>
                    <a:pt x="2867" y="1656"/>
                    <a:pt x="2822" y="1685"/>
                    <a:pt x="2778" y="1685"/>
                  </a:cubicBezTo>
                  <a:cubicBezTo>
                    <a:pt x="2770" y="1693"/>
                    <a:pt x="2741" y="1693"/>
                    <a:pt x="2726" y="1700"/>
                  </a:cubicBezTo>
                  <a:cubicBezTo>
                    <a:pt x="2711" y="1707"/>
                    <a:pt x="2696" y="1715"/>
                    <a:pt x="2689" y="1715"/>
                  </a:cubicBezTo>
                  <a:cubicBezTo>
                    <a:pt x="2666" y="1722"/>
                    <a:pt x="2600" y="1722"/>
                    <a:pt x="2592" y="1700"/>
                  </a:cubicBezTo>
                  <a:cubicBezTo>
                    <a:pt x="2562" y="1707"/>
                    <a:pt x="2548" y="1707"/>
                    <a:pt x="2540" y="1737"/>
                  </a:cubicBezTo>
                  <a:cubicBezTo>
                    <a:pt x="2540" y="1752"/>
                    <a:pt x="2540" y="1782"/>
                    <a:pt x="2540" y="1789"/>
                  </a:cubicBezTo>
                  <a:cubicBezTo>
                    <a:pt x="2533" y="1804"/>
                    <a:pt x="2503" y="1812"/>
                    <a:pt x="2488" y="1819"/>
                  </a:cubicBezTo>
                  <a:cubicBezTo>
                    <a:pt x="2481" y="1826"/>
                    <a:pt x="2458" y="1856"/>
                    <a:pt x="2444" y="1856"/>
                  </a:cubicBezTo>
                  <a:cubicBezTo>
                    <a:pt x="2444" y="1864"/>
                    <a:pt x="2451" y="1864"/>
                    <a:pt x="2458" y="1864"/>
                  </a:cubicBezTo>
                  <a:cubicBezTo>
                    <a:pt x="2444" y="1871"/>
                    <a:pt x="2429" y="1878"/>
                    <a:pt x="2429" y="1886"/>
                  </a:cubicBezTo>
                  <a:cubicBezTo>
                    <a:pt x="2414" y="1886"/>
                    <a:pt x="2392" y="1878"/>
                    <a:pt x="2377" y="1886"/>
                  </a:cubicBezTo>
                  <a:cubicBezTo>
                    <a:pt x="2362" y="1893"/>
                    <a:pt x="2362" y="1901"/>
                    <a:pt x="2355" y="1908"/>
                  </a:cubicBezTo>
                  <a:cubicBezTo>
                    <a:pt x="2340" y="1923"/>
                    <a:pt x="2325" y="1930"/>
                    <a:pt x="2310" y="1945"/>
                  </a:cubicBezTo>
                  <a:cubicBezTo>
                    <a:pt x="2303" y="1953"/>
                    <a:pt x="2295" y="1967"/>
                    <a:pt x="2280" y="1975"/>
                  </a:cubicBezTo>
                  <a:cubicBezTo>
                    <a:pt x="2273" y="1975"/>
                    <a:pt x="2258" y="1975"/>
                    <a:pt x="2243" y="1975"/>
                  </a:cubicBezTo>
                  <a:cubicBezTo>
                    <a:pt x="2228" y="1982"/>
                    <a:pt x="2198" y="1982"/>
                    <a:pt x="2184" y="1990"/>
                  </a:cubicBezTo>
                  <a:cubicBezTo>
                    <a:pt x="2176" y="2005"/>
                    <a:pt x="2176" y="2019"/>
                    <a:pt x="2176" y="2042"/>
                  </a:cubicBezTo>
                  <a:cubicBezTo>
                    <a:pt x="2154" y="2042"/>
                    <a:pt x="2139" y="2072"/>
                    <a:pt x="2132" y="2086"/>
                  </a:cubicBezTo>
                  <a:cubicBezTo>
                    <a:pt x="2124" y="2101"/>
                    <a:pt x="2102" y="2116"/>
                    <a:pt x="2087" y="2123"/>
                  </a:cubicBezTo>
                  <a:cubicBezTo>
                    <a:pt x="2020" y="2161"/>
                    <a:pt x="1931" y="2175"/>
                    <a:pt x="1901" y="2250"/>
                  </a:cubicBezTo>
                  <a:cubicBezTo>
                    <a:pt x="1894" y="2272"/>
                    <a:pt x="1894" y="2287"/>
                    <a:pt x="1894" y="2309"/>
                  </a:cubicBezTo>
                  <a:cubicBezTo>
                    <a:pt x="1887" y="2324"/>
                    <a:pt x="1864" y="2339"/>
                    <a:pt x="1850" y="2354"/>
                  </a:cubicBezTo>
                  <a:cubicBezTo>
                    <a:pt x="1842" y="2361"/>
                    <a:pt x="1842" y="2361"/>
                    <a:pt x="1835" y="2369"/>
                  </a:cubicBezTo>
                  <a:cubicBezTo>
                    <a:pt x="1820" y="2369"/>
                    <a:pt x="1812" y="2369"/>
                    <a:pt x="1812" y="2354"/>
                  </a:cubicBezTo>
                  <a:cubicBezTo>
                    <a:pt x="1805" y="2339"/>
                    <a:pt x="1812" y="2317"/>
                    <a:pt x="1812" y="2302"/>
                  </a:cubicBezTo>
                  <a:cubicBezTo>
                    <a:pt x="1798" y="2302"/>
                    <a:pt x="1775" y="2302"/>
                    <a:pt x="1768" y="2309"/>
                  </a:cubicBezTo>
                  <a:cubicBezTo>
                    <a:pt x="1738" y="2346"/>
                    <a:pt x="1753" y="2398"/>
                    <a:pt x="1731" y="2435"/>
                  </a:cubicBezTo>
                  <a:cubicBezTo>
                    <a:pt x="1716" y="2458"/>
                    <a:pt x="1693" y="2458"/>
                    <a:pt x="1679" y="2472"/>
                  </a:cubicBezTo>
                  <a:cubicBezTo>
                    <a:pt x="1679" y="2480"/>
                    <a:pt x="1612" y="2591"/>
                    <a:pt x="1612" y="2584"/>
                  </a:cubicBezTo>
                  <a:cubicBezTo>
                    <a:pt x="1627" y="2621"/>
                    <a:pt x="1656" y="2614"/>
                    <a:pt x="1619" y="2658"/>
                  </a:cubicBezTo>
                  <a:cubicBezTo>
                    <a:pt x="1597" y="2680"/>
                    <a:pt x="1590" y="2680"/>
                    <a:pt x="1604" y="2717"/>
                  </a:cubicBezTo>
                  <a:cubicBezTo>
                    <a:pt x="1619" y="2769"/>
                    <a:pt x="1597" y="2821"/>
                    <a:pt x="1538" y="2829"/>
                  </a:cubicBezTo>
                  <a:cubicBezTo>
                    <a:pt x="1515" y="2829"/>
                    <a:pt x="1501" y="2829"/>
                    <a:pt x="1486" y="2799"/>
                  </a:cubicBezTo>
                  <a:cubicBezTo>
                    <a:pt x="1478" y="2784"/>
                    <a:pt x="1463" y="2755"/>
                    <a:pt x="1486" y="2747"/>
                  </a:cubicBezTo>
                  <a:cubicBezTo>
                    <a:pt x="1456" y="2762"/>
                    <a:pt x="1434" y="2762"/>
                    <a:pt x="1404" y="2769"/>
                  </a:cubicBezTo>
                  <a:cubicBezTo>
                    <a:pt x="1404" y="2792"/>
                    <a:pt x="1404" y="2807"/>
                    <a:pt x="1426" y="2821"/>
                  </a:cubicBezTo>
                  <a:cubicBezTo>
                    <a:pt x="1411" y="2859"/>
                    <a:pt x="1352" y="2859"/>
                    <a:pt x="1322" y="2896"/>
                  </a:cubicBezTo>
                  <a:cubicBezTo>
                    <a:pt x="1307" y="2918"/>
                    <a:pt x="1322" y="2933"/>
                    <a:pt x="1315" y="2955"/>
                  </a:cubicBezTo>
                  <a:cubicBezTo>
                    <a:pt x="1307" y="2970"/>
                    <a:pt x="1285" y="2963"/>
                    <a:pt x="1285" y="2992"/>
                  </a:cubicBezTo>
                  <a:cubicBezTo>
                    <a:pt x="1263" y="3000"/>
                    <a:pt x="1218" y="3014"/>
                    <a:pt x="1211" y="3037"/>
                  </a:cubicBezTo>
                  <a:cubicBezTo>
                    <a:pt x="1196" y="3059"/>
                    <a:pt x="1211" y="3044"/>
                    <a:pt x="1218" y="3059"/>
                  </a:cubicBezTo>
                  <a:cubicBezTo>
                    <a:pt x="1218" y="3066"/>
                    <a:pt x="1233" y="3089"/>
                    <a:pt x="1241" y="3096"/>
                  </a:cubicBezTo>
                  <a:cubicBezTo>
                    <a:pt x="1278" y="3119"/>
                    <a:pt x="1300" y="3081"/>
                    <a:pt x="1293" y="3148"/>
                  </a:cubicBezTo>
                  <a:cubicBezTo>
                    <a:pt x="1293" y="3178"/>
                    <a:pt x="1293" y="3208"/>
                    <a:pt x="1300" y="3230"/>
                  </a:cubicBezTo>
                  <a:cubicBezTo>
                    <a:pt x="1322" y="3230"/>
                    <a:pt x="1344" y="3237"/>
                    <a:pt x="1344" y="3245"/>
                  </a:cubicBezTo>
                  <a:cubicBezTo>
                    <a:pt x="1374" y="3252"/>
                    <a:pt x="1396" y="3267"/>
                    <a:pt x="1419" y="3282"/>
                  </a:cubicBezTo>
                  <a:cubicBezTo>
                    <a:pt x="1434" y="3245"/>
                    <a:pt x="1441" y="3215"/>
                    <a:pt x="1471" y="3193"/>
                  </a:cubicBezTo>
                  <a:cubicBezTo>
                    <a:pt x="1486" y="3178"/>
                    <a:pt x="1493" y="3163"/>
                    <a:pt x="1508" y="3148"/>
                  </a:cubicBezTo>
                  <a:cubicBezTo>
                    <a:pt x="1523" y="3119"/>
                    <a:pt x="1515" y="3096"/>
                    <a:pt x="1486" y="3089"/>
                  </a:cubicBezTo>
                  <a:cubicBezTo>
                    <a:pt x="1493" y="3066"/>
                    <a:pt x="1530" y="3066"/>
                    <a:pt x="1553" y="3059"/>
                  </a:cubicBezTo>
                  <a:cubicBezTo>
                    <a:pt x="1575" y="3044"/>
                    <a:pt x="1597" y="3044"/>
                    <a:pt x="1627" y="3044"/>
                  </a:cubicBezTo>
                  <a:cubicBezTo>
                    <a:pt x="1649" y="3044"/>
                    <a:pt x="1671" y="3044"/>
                    <a:pt x="1693" y="3052"/>
                  </a:cubicBezTo>
                  <a:cubicBezTo>
                    <a:pt x="1708" y="3052"/>
                    <a:pt x="1708" y="3059"/>
                    <a:pt x="1723" y="3059"/>
                  </a:cubicBezTo>
                  <a:cubicBezTo>
                    <a:pt x="1731" y="3059"/>
                    <a:pt x="1746" y="3044"/>
                    <a:pt x="1753" y="3044"/>
                  </a:cubicBezTo>
                  <a:cubicBezTo>
                    <a:pt x="1768" y="3044"/>
                    <a:pt x="1760" y="3059"/>
                    <a:pt x="1775" y="3059"/>
                  </a:cubicBezTo>
                  <a:cubicBezTo>
                    <a:pt x="1790" y="3059"/>
                    <a:pt x="1798" y="3059"/>
                    <a:pt x="1805" y="3052"/>
                  </a:cubicBezTo>
                  <a:cubicBezTo>
                    <a:pt x="1827" y="3044"/>
                    <a:pt x="1842" y="3037"/>
                    <a:pt x="1872" y="3037"/>
                  </a:cubicBezTo>
                  <a:cubicBezTo>
                    <a:pt x="1887" y="3037"/>
                    <a:pt x="1916" y="3037"/>
                    <a:pt x="1931" y="3029"/>
                  </a:cubicBezTo>
                  <a:cubicBezTo>
                    <a:pt x="1946" y="3014"/>
                    <a:pt x="1938" y="3007"/>
                    <a:pt x="1938" y="2992"/>
                  </a:cubicBezTo>
                  <a:cubicBezTo>
                    <a:pt x="1946" y="2985"/>
                    <a:pt x="1953" y="2977"/>
                    <a:pt x="1953" y="2970"/>
                  </a:cubicBezTo>
                  <a:cubicBezTo>
                    <a:pt x="1961" y="2963"/>
                    <a:pt x="1998" y="2911"/>
                    <a:pt x="2005" y="2911"/>
                  </a:cubicBezTo>
                  <a:cubicBezTo>
                    <a:pt x="2013" y="2918"/>
                    <a:pt x="2013" y="2925"/>
                    <a:pt x="2028" y="2925"/>
                  </a:cubicBezTo>
                  <a:cubicBezTo>
                    <a:pt x="2028" y="2970"/>
                    <a:pt x="2020" y="3007"/>
                    <a:pt x="2020" y="3052"/>
                  </a:cubicBezTo>
                  <a:cubicBezTo>
                    <a:pt x="2058" y="3052"/>
                    <a:pt x="2095" y="3074"/>
                    <a:pt x="2132" y="3074"/>
                  </a:cubicBezTo>
                  <a:cubicBezTo>
                    <a:pt x="2132" y="3044"/>
                    <a:pt x="2132" y="2992"/>
                    <a:pt x="2139" y="3000"/>
                  </a:cubicBezTo>
                  <a:cubicBezTo>
                    <a:pt x="2161" y="2985"/>
                    <a:pt x="2176" y="2992"/>
                    <a:pt x="2191" y="2985"/>
                  </a:cubicBezTo>
                  <a:cubicBezTo>
                    <a:pt x="2213" y="2977"/>
                    <a:pt x="2206" y="2970"/>
                    <a:pt x="2213" y="2955"/>
                  </a:cubicBezTo>
                  <a:cubicBezTo>
                    <a:pt x="2221" y="2933"/>
                    <a:pt x="2243" y="2925"/>
                    <a:pt x="2258" y="2918"/>
                  </a:cubicBezTo>
                  <a:cubicBezTo>
                    <a:pt x="2265" y="2911"/>
                    <a:pt x="2265" y="2911"/>
                    <a:pt x="2273" y="2903"/>
                  </a:cubicBezTo>
                  <a:cubicBezTo>
                    <a:pt x="2273" y="2896"/>
                    <a:pt x="2273" y="2881"/>
                    <a:pt x="2273" y="2874"/>
                  </a:cubicBezTo>
                  <a:cubicBezTo>
                    <a:pt x="2288" y="2866"/>
                    <a:pt x="2288" y="2859"/>
                    <a:pt x="2288" y="2844"/>
                  </a:cubicBezTo>
                  <a:cubicBezTo>
                    <a:pt x="2295" y="2821"/>
                    <a:pt x="2303" y="2814"/>
                    <a:pt x="2317" y="2799"/>
                  </a:cubicBezTo>
                  <a:cubicBezTo>
                    <a:pt x="2340" y="2777"/>
                    <a:pt x="2369" y="2777"/>
                    <a:pt x="2362" y="2740"/>
                  </a:cubicBezTo>
                  <a:cubicBezTo>
                    <a:pt x="2362" y="2703"/>
                    <a:pt x="2332" y="2688"/>
                    <a:pt x="2347" y="2651"/>
                  </a:cubicBezTo>
                  <a:cubicBezTo>
                    <a:pt x="2355" y="2628"/>
                    <a:pt x="2377" y="2614"/>
                    <a:pt x="2392" y="2599"/>
                  </a:cubicBezTo>
                  <a:cubicBezTo>
                    <a:pt x="2414" y="2576"/>
                    <a:pt x="2414" y="2547"/>
                    <a:pt x="2414" y="2517"/>
                  </a:cubicBezTo>
                  <a:cubicBezTo>
                    <a:pt x="2384" y="2524"/>
                    <a:pt x="2392" y="2487"/>
                    <a:pt x="2392" y="2472"/>
                  </a:cubicBezTo>
                  <a:cubicBezTo>
                    <a:pt x="2392" y="2458"/>
                    <a:pt x="2392" y="2450"/>
                    <a:pt x="2384" y="2435"/>
                  </a:cubicBezTo>
                  <a:cubicBezTo>
                    <a:pt x="2377" y="2420"/>
                    <a:pt x="2377" y="2420"/>
                    <a:pt x="2369" y="2406"/>
                  </a:cubicBezTo>
                  <a:cubicBezTo>
                    <a:pt x="2369" y="2376"/>
                    <a:pt x="2355" y="2369"/>
                    <a:pt x="2347" y="2346"/>
                  </a:cubicBezTo>
                  <a:cubicBezTo>
                    <a:pt x="2347" y="2294"/>
                    <a:pt x="2347" y="2279"/>
                    <a:pt x="2377" y="2235"/>
                  </a:cubicBezTo>
                  <a:cubicBezTo>
                    <a:pt x="2384" y="2227"/>
                    <a:pt x="2384" y="2212"/>
                    <a:pt x="2392" y="2205"/>
                  </a:cubicBezTo>
                  <a:cubicBezTo>
                    <a:pt x="2406" y="2183"/>
                    <a:pt x="2421" y="2168"/>
                    <a:pt x="2436" y="2146"/>
                  </a:cubicBezTo>
                  <a:cubicBezTo>
                    <a:pt x="2458" y="2131"/>
                    <a:pt x="2473" y="2116"/>
                    <a:pt x="2495" y="2109"/>
                  </a:cubicBezTo>
                  <a:cubicBezTo>
                    <a:pt x="2510" y="2109"/>
                    <a:pt x="2533" y="2116"/>
                    <a:pt x="2548" y="2109"/>
                  </a:cubicBezTo>
                  <a:cubicBezTo>
                    <a:pt x="2548" y="2064"/>
                    <a:pt x="2592" y="2042"/>
                    <a:pt x="2607" y="2005"/>
                  </a:cubicBezTo>
                  <a:cubicBezTo>
                    <a:pt x="2622" y="1982"/>
                    <a:pt x="2644" y="1967"/>
                    <a:pt x="2666" y="1960"/>
                  </a:cubicBezTo>
                  <a:cubicBezTo>
                    <a:pt x="2681" y="1960"/>
                    <a:pt x="2681" y="1960"/>
                    <a:pt x="2703" y="1953"/>
                  </a:cubicBezTo>
                  <a:cubicBezTo>
                    <a:pt x="2711" y="1945"/>
                    <a:pt x="2718" y="1945"/>
                    <a:pt x="2726" y="1938"/>
                  </a:cubicBezTo>
                  <a:cubicBezTo>
                    <a:pt x="2770" y="1901"/>
                    <a:pt x="2778" y="1834"/>
                    <a:pt x="2837" y="1834"/>
                  </a:cubicBezTo>
                  <a:cubicBezTo>
                    <a:pt x="2874" y="1834"/>
                    <a:pt x="2882" y="1812"/>
                    <a:pt x="2897" y="1782"/>
                  </a:cubicBezTo>
                  <a:cubicBezTo>
                    <a:pt x="2911" y="1737"/>
                    <a:pt x="2956" y="1670"/>
                    <a:pt x="3000" y="1641"/>
                  </a:cubicBezTo>
                  <a:cubicBezTo>
                    <a:pt x="3015" y="1633"/>
                    <a:pt x="3038" y="1633"/>
                    <a:pt x="3052" y="1626"/>
                  </a:cubicBezTo>
                  <a:cubicBezTo>
                    <a:pt x="3067" y="1618"/>
                    <a:pt x="3090" y="1611"/>
                    <a:pt x="3112" y="1604"/>
                  </a:cubicBezTo>
                  <a:cubicBezTo>
                    <a:pt x="3119" y="1604"/>
                    <a:pt x="3142" y="1611"/>
                    <a:pt x="3149" y="1604"/>
                  </a:cubicBezTo>
                  <a:cubicBezTo>
                    <a:pt x="3164" y="1604"/>
                    <a:pt x="3171" y="1589"/>
                    <a:pt x="3186" y="1581"/>
                  </a:cubicBezTo>
                  <a:cubicBezTo>
                    <a:pt x="3208" y="1574"/>
                    <a:pt x="3238" y="1574"/>
                    <a:pt x="3260" y="1567"/>
                  </a:cubicBezTo>
                  <a:cubicBezTo>
                    <a:pt x="3283" y="1559"/>
                    <a:pt x="3275" y="1529"/>
                    <a:pt x="3297" y="1515"/>
                  </a:cubicBezTo>
                  <a:cubicBezTo>
                    <a:pt x="3297" y="1522"/>
                    <a:pt x="3312" y="1537"/>
                    <a:pt x="3327" y="1544"/>
                  </a:cubicBezTo>
                  <a:cubicBezTo>
                    <a:pt x="3350" y="1544"/>
                    <a:pt x="3335" y="1537"/>
                    <a:pt x="3357" y="1522"/>
                  </a:cubicBezTo>
                  <a:cubicBezTo>
                    <a:pt x="3372" y="1515"/>
                    <a:pt x="3402" y="1515"/>
                    <a:pt x="3416" y="1522"/>
                  </a:cubicBezTo>
                  <a:cubicBezTo>
                    <a:pt x="3431" y="1529"/>
                    <a:pt x="3431" y="1544"/>
                    <a:pt x="3439" y="1544"/>
                  </a:cubicBezTo>
                  <a:cubicBezTo>
                    <a:pt x="3446" y="1552"/>
                    <a:pt x="3461" y="1552"/>
                    <a:pt x="3468" y="1567"/>
                  </a:cubicBezTo>
                  <a:cubicBezTo>
                    <a:pt x="3483" y="1581"/>
                    <a:pt x="3476" y="1611"/>
                    <a:pt x="3483" y="1626"/>
                  </a:cubicBezTo>
                  <a:cubicBezTo>
                    <a:pt x="3520" y="1633"/>
                    <a:pt x="3550" y="1648"/>
                    <a:pt x="3580" y="1670"/>
                  </a:cubicBezTo>
                  <a:cubicBezTo>
                    <a:pt x="3595" y="1670"/>
                    <a:pt x="3617" y="1693"/>
                    <a:pt x="3632" y="1693"/>
                  </a:cubicBezTo>
                  <a:cubicBezTo>
                    <a:pt x="3647" y="1685"/>
                    <a:pt x="3654" y="1663"/>
                    <a:pt x="3669" y="1656"/>
                  </a:cubicBezTo>
                  <a:cubicBezTo>
                    <a:pt x="3669" y="1633"/>
                    <a:pt x="3632" y="1596"/>
                    <a:pt x="3617" y="1574"/>
                  </a:cubicBezTo>
                  <a:cubicBezTo>
                    <a:pt x="3602" y="1559"/>
                    <a:pt x="3595" y="1552"/>
                    <a:pt x="3587" y="1537"/>
                  </a:cubicBezTo>
                  <a:cubicBezTo>
                    <a:pt x="3580" y="1537"/>
                    <a:pt x="3557" y="1515"/>
                    <a:pt x="3557" y="1515"/>
                  </a:cubicBezTo>
                  <a:cubicBezTo>
                    <a:pt x="3550" y="1500"/>
                    <a:pt x="3535" y="1500"/>
                    <a:pt x="3535" y="1485"/>
                  </a:cubicBezTo>
                  <a:cubicBezTo>
                    <a:pt x="3528" y="1477"/>
                    <a:pt x="3528" y="1462"/>
                    <a:pt x="3520" y="1455"/>
                  </a:cubicBezTo>
                  <a:cubicBezTo>
                    <a:pt x="3513" y="1455"/>
                    <a:pt x="3491" y="1455"/>
                    <a:pt x="3491" y="1448"/>
                  </a:cubicBezTo>
                  <a:cubicBezTo>
                    <a:pt x="3483" y="1425"/>
                    <a:pt x="3439" y="1284"/>
                    <a:pt x="3491" y="1284"/>
                  </a:cubicBezTo>
                  <a:cubicBezTo>
                    <a:pt x="3505" y="1270"/>
                    <a:pt x="3520" y="1240"/>
                    <a:pt x="3535" y="1240"/>
                  </a:cubicBezTo>
                  <a:cubicBezTo>
                    <a:pt x="3557" y="1202"/>
                    <a:pt x="3639" y="1165"/>
                    <a:pt x="3632" y="1113"/>
                  </a:cubicBezTo>
                  <a:cubicBezTo>
                    <a:pt x="3647" y="1099"/>
                    <a:pt x="3662" y="1084"/>
                    <a:pt x="3691" y="1084"/>
                  </a:cubicBezTo>
                  <a:cubicBezTo>
                    <a:pt x="3713" y="1084"/>
                    <a:pt x="3736" y="1091"/>
                    <a:pt x="3758" y="1091"/>
                  </a:cubicBezTo>
                  <a:cubicBezTo>
                    <a:pt x="3758" y="1062"/>
                    <a:pt x="3751" y="1017"/>
                    <a:pt x="3765" y="995"/>
                  </a:cubicBezTo>
                  <a:cubicBezTo>
                    <a:pt x="3765" y="995"/>
                    <a:pt x="3765" y="995"/>
                    <a:pt x="3773" y="995"/>
                  </a:cubicBezTo>
                </a:path>
              </a:pathLst>
            </a:custGeom>
            <a:grpFill/>
            <a:ln w="6350" cap="flat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lIns="60927" tIns="30463" rIns="60927" bIns="30463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31" name="Freeform 23"/>
            <p:cNvSpPr>
              <a:spLocks noChangeArrowheads="1"/>
            </p:cNvSpPr>
            <p:nvPr/>
          </p:nvSpPr>
          <p:spPr bwMode="auto">
            <a:xfrm>
              <a:off x="14375370" y="6491918"/>
              <a:ext cx="867396" cy="304815"/>
            </a:xfrm>
            <a:custGeom>
              <a:avLst/>
              <a:gdLst>
                <a:gd name="T0" fmla="*/ 1953 w 2006"/>
                <a:gd name="T1" fmla="*/ 602 h 707"/>
                <a:gd name="T2" fmla="*/ 1997 w 2006"/>
                <a:gd name="T3" fmla="*/ 505 h 707"/>
                <a:gd name="T4" fmla="*/ 1916 w 2006"/>
                <a:gd name="T5" fmla="*/ 312 h 707"/>
                <a:gd name="T6" fmla="*/ 1767 w 2006"/>
                <a:gd name="T7" fmla="*/ 230 h 707"/>
                <a:gd name="T8" fmla="*/ 1589 w 2006"/>
                <a:gd name="T9" fmla="*/ 275 h 707"/>
                <a:gd name="T10" fmla="*/ 1567 w 2006"/>
                <a:gd name="T11" fmla="*/ 104 h 707"/>
                <a:gd name="T12" fmla="*/ 1641 w 2006"/>
                <a:gd name="T13" fmla="*/ 22 h 707"/>
                <a:gd name="T14" fmla="*/ 1477 w 2006"/>
                <a:gd name="T15" fmla="*/ 30 h 707"/>
                <a:gd name="T16" fmla="*/ 1307 w 2006"/>
                <a:gd name="T17" fmla="*/ 89 h 707"/>
                <a:gd name="T18" fmla="*/ 1247 w 2006"/>
                <a:gd name="T19" fmla="*/ 89 h 707"/>
                <a:gd name="T20" fmla="*/ 1136 w 2006"/>
                <a:gd name="T21" fmla="*/ 134 h 707"/>
                <a:gd name="T22" fmla="*/ 1047 w 2006"/>
                <a:gd name="T23" fmla="*/ 230 h 707"/>
                <a:gd name="T24" fmla="*/ 987 w 2006"/>
                <a:gd name="T25" fmla="*/ 290 h 707"/>
                <a:gd name="T26" fmla="*/ 935 w 2006"/>
                <a:gd name="T27" fmla="*/ 193 h 707"/>
                <a:gd name="T28" fmla="*/ 854 w 2006"/>
                <a:gd name="T29" fmla="*/ 230 h 707"/>
                <a:gd name="T30" fmla="*/ 742 w 2006"/>
                <a:gd name="T31" fmla="*/ 156 h 707"/>
                <a:gd name="T32" fmla="*/ 594 w 2006"/>
                <a:gd name="T33" fmla="*/ 149 h 707"/>
                <a:gd name="T34" fmla="*/ 445 w 2006"/>
                <a:gd name="T35" fmla="*/ 119 h 707"/>
                <a:gd name="T36" fmla="*/ 297 w 2006"/>
                <a:gd name="T37" fmla="*/ 127 h 707"/>
                <a:gd name="T38" fmla="*/ 96 w 2006"/>
                <a:gd name="T39" fmla="*/ 193 h 707"/>
                <a:gd name="T40" fmla="*/ 37 w 2006"/>
                <a:gd name="T41" fmla="*/ 297 h 707"/>
                <a:gd name="T42" fmla="*/ 74 w 2006"/>
                <a:gd name="T43" fmla="*/ 409 h 707"/>
                <a:gd name="T44" fmla="*/ 22 w 2006"/>
                <a:gd name="T45" fmla="*/ 542 h 707"/>
                <a:gd name="T46" fmla="*/ 230 w 2006"/>
                <a:gd name="T47" fmla="*/ 602 h 707"/>
                <a:gd name="T48" fmla="*/ 408 w 2006"/>
                <a:gd name="T49" fmla="*/ 646 h 707"/>
                <a:gd name="T50" fmla="*/ 787 w 2006"/>
                <a:gd name="T51" fmla="*/ 639 h 707"/>
                <a:gd name="T52" fmla="*/ 950 w 2006"/>
                <a:gd name="T53" fmla="*/ 654 h 707"/>
                <a:gd name="T54" fmla="*/ 1128 w 2006"/>
                <a:gd name="T55" fmla="*/ 661 h 707"/>
                <a:gd name="T56" fmla="*/ 1203 w 2006"/>
                <a:gd name="T57" fmla="*/ 661 h 707"/>
                <a:gd name="T58" fmla="*/ 1307 w 2006"/>
                <a:gd name="T59" fmla="*/ 661 h 707"/>
                <a:gd name="T60" fmla="*/ 1381 w 2006"/>
                <a:gd name="T61" fmla="*/ 631 h 707"/>
                <a:gd name="T62" fmla="*/ 1685 w 2006"/>
                <a:gd name="T63" fmla="*/ 698 h 707"/>
                <a:gd name="T64" fmla="*/ 1782 w 2006"/>
                <a:gd name="T65" fmla="*/ 706 h 707"/>
                <a:gd name="T66" fmla="*/ 1953 w 2006"/>
                <a:gd name="T67" fmla="*/ 602 h 7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006" h="707">
                  <a:moveTo>
                    <a:pt x="1953" y="602"/>
                  </a:moveTo>
                  <a:lnTo>
                    <a:pt x="1953" y="602"/>
                  </a:lnTo>
                  <a:cubicBezTo>
                    <a:pt x="1968" y="594"/>
                    <a:pt x="1982" y="587"/>
                    <a:pt x="1997" y="579"/>
                  </a:cubicBezTo>
                  <a:cubicBezTo>
                    <a:pt x="2005" y="557"/>
                    <a:pt x="2005" y="527"/>
                    <a:pt x="1997" y="505"/>
                  </a:cubicBezTo>
                  <a:cubicBezTo>
                    <a:pt x="1968" y="468"/>
                    <a:pt x="1901" y="468"/>
                    <a:pt x="1886" y="416"/>
                  </a:cubicBezTo>
                  <a:cubicBezTo>
                    <a:pt x="1886" y="401"/>
                    <a:pt x="1886" y="319"/>
                    <a:pt x="1916" y="312"/>
                  </a:cubicBezTo>
                  <a:cubicBezTo>
                    <a:pt x="1893" y="312"/>
                    <a:pt x="1849" y="305"/>
                    <a:pt x="1834" y="297"/>
                  </a:cubicBezTo>
                  <a:cubicBezTo>
                    <a:pt x="1797" y="282"/>
                    <a:pt x="1804" y="245"/>
                    <a:pt x="1767" y="230"/>
                  </a:cubicBezTo>
                  <a:cubicBezTo>
                    <a:pt x="1737" y="223"/>
                    <a:pt x="1700" y="238"/>
                    <a:pt x="1671" y="245"/>
                  </a:cubicBezTo>
                  <a:cubicBezTo>
                    <a:pt x="1641" y="253"/>
                    <a:pt x="1626" y="282"/>
                    <a:pt x="1589" y="275"/>
                  </a:cubicBezTo>
                  <a:cubicBezTo>
                    <a:pt x="1589" y="238"/>
                    <a:pt x="1589" y="208"/>
                    <a:pt x="1596" y="178"/>
                  </a:cubicBezTo>
                  <a:cubicBezTo>
                    <a:pt x="1604" y="141"/>
                    <a:pt x="1611" y="112"/>
                    <a:pt x="1567" y="104"/>
                  </a:cubicBezTo>
                  <a:cubicBezTo>
                    <a:pt x="1567" y="89"/>
                    <a:pt x="1589" y="60"/>
                    <a:pt x="1596" y="52"/>
                  </a:cubicBezTo>
                  <a:cubicBezTo>
                    <a:pt x="1619" y="45"/>
                    <a:pt x="1648" y="45"/>
                    <a:pt x="1641" y="22"/>
                  </a:cubicBezTo>
                  <a:cubicBezTo>
                    <a:pt x="1611" y="22"/>
                    <a:pt x="1582" y="30"/>
                    <a:pt x="1552" y="30"/>
                  </a:cubicBezTo>
                  <a:cubicBezTo>
                    <a:pt x="1522" y="30"/>
                    <a:pt x="1500" y="30"/>
                    <a:pt x="1477" y="30"/>
                  </a:cubicBezTo>
                  <a:cubicBezTo>
                    <a:pt x="1440" y="82"/>
                    <a:pt x="1374" y="0"/>
                    <a:pt x="1329" y="22"/>
                  </a:cubicBezTo>
                  <a:cubicBezTo>
                    <a:pt x="1292" y="45"/>
                    <a:pt x="1314" y="67"/>
                    <a:pt x="1307" y="89"/>
                  </a:cubicBezTo>
                  <a:cubicBezTo>
                    <a:pt x="1299" y="119"/>
                    <a:pt x="1284" y="119"/>
                    <a:pt x="1284" y="156"/>
                  </a:cubicBezTo>
                  <a:cubicBezTo>
                    <a:pt x="1255" y="141"/>
                    <a:pt x="1262" y="104"/>
                    <a:pt x="1247" y="89"/>
                  </a:cubicBezTo>
                  <a:cubicBezTo>
                    <a:pt x="1225" y="74"/>
                    <a:pt x="1203" y="74"/>
                    <a:pt x="1180" y="74"/>
                  </a:cubicBezTo>
                  <a:cubicBezTo>
                    <a:pt x="1180" y="104"/>
                    <a:pt x="1136" y="97"/>
                    <a:pt x="1136" y="134"/>
                  </a:cubicBezTo>
                  <a:cubicBezTo>
                    <a:pt x="1128" y="164"/>
                    <a:pt x="1188" y="178"/>
                    <a:pt x="1128" y="193"/>
                  </a:cubicBezTo>
                  <a:cubicBezTo>
                    <a:pt x="1091" y="193"/>
                    <a:pt x="1054" y="178"/>
                    <a:pt x="1047" y="230"/>
                  </a:cubicBezTo>
                  <a:cubicBezTo>
                    <a:pt x="1032" y="245"/>
                    <a:pt x="1017" y="238"/>
                    <a:pt x="1010" y="245"/>
                  </a:cubicBezTo>
                  <a:cubicBezTo>
                    <a:pt x="995" y="253"/>
                    <a:pt x="995" y="267"/>
                    <a:pt x="987" y="290"/>
                  </a:cubicBezTo>
                  <a:cubicBezTo>
                    <a:pt x="957" y="290"/>
                    <a:pt x="943" y="290"/>
                    <a:pt x="935" y="267"/>
                  </a:cubicBezTo>
                  <a:cubicBezTo>
                    <a:pt x="928" y="245"/>
                    <a:pt x="935" y="208"/>
                    <a:pt x="935" y="193"/>
                  </a:cubicBezTo>
                  <a:cubicBezTo>
                    <a:pt x="913" y="186"/>
                    <a:pt x="906" y="186"/>
                    <a:pt x="883" y="201"/>
                  </a:cubicBezTo>
                  <a:cubicBezTo>
                    <a:pt x="876" y="201"/>
                    <a:pt x="876" y="238"/>
                    <a:pt x="854" y="230"/>
                  </a:cubicBezTo>
                  <a:cubicBezTo>
                    <a:pt x="824" y="230"/>
                    <a:pt x="831" y="193"/>
                    <a:pt x="817" y="178"/>
                  </a:cubicBezTo>
                  <a:cubicBezTo>
                    <a:pt x="794" y="149"/>
                    <a:pt x="772" y="171"/>
                    <a:pt x="742" y="156"/>
                  </a:cubicBezTo>
                  <a:cubicBezTo>
                    <a:pt x="720" y="149"/>
                    <a:pt x="698" y="134"/>
                    <a:pt x="675" y="134"/>
                  </a:cubicBezTo>
                  <a:cubicBezTo>
                    <a:pt x="646" y="134"/>
                    <a:pt x="623" y="149"/>
                    <a:pt x="594" y="149"/>
                  </a:cubicBezTo>
                  <a:cubicBezTo>
                    <a:pt x="564" y="156"/>
                    <a:pt x="527" y="149"/>
                    <a:pt x="497" y="141"/>
                  </a:cubicBezTo>
                  <a:cubicBezTo>
                    <a:pt x="475" y="141"/>
                    <a:pt x="467" y="127"/>
                    <a:pt x="445" y="119"/>
                  </a:cubicBezTo>
                  <a:cubicBezTo>
                    <a:pt x="423" y="112"/>
                    <a:pt x="408" y="119"/>
                    <a:pt x="378" y="127"/>
                  </a:cubicBezTo>
                  <a:cubicBezTo>
                    <a:pt x="349" y="134"/>
                    <a:pt x="326" y="127"/>
                    <a:pt x="297" y="127"/>
                  </a:cubicBezTo>
                  <a:cubicBezTo>
                    <a:pt x="297" y="193"/>
                    <a:pt x="170" y="171"/>
                    <a:pt x="133" y="171"/>
                  </a:cubicBezTo>
                  <a:cubicBezTo>
                    <a:pt x="104" y="171"/>
                    <a:pt x="111" y="171"/>
                    <a:pt x="96" y="193"/>
                  </a:cubicBezTo>
                  <a:cubicBezTo>
                    <a:pt x="74" y="208"/>
                    <a:pt x="74" y="238"/>
                    <a:pt x="37" y="245"/>
                  </a:cubicBezTo>
                  <a:cubicBezTo>
                    <a:pt x="37" y="260"/>
                    <a:pt x="37" y="275"/>
                    <a:pt x="37" y="297"/>
                  </a:cubicBezTo>
                  <a:cubicBezTo>
                    <a:pt x="44" y="290"/>
                    <a:pt x="52" y="297"/>
                    <a:pt x="59" y="297"/>
                  </a:cubicBezTo>
                  <a:cubicBezTo>
                    <a:pt x="67" y="319"/>
                    <a:pt x="96" y="394"/>
                    <a:pt x="74" y="409"/>
                  </a:cubicBezTo>
                  <a:cubicBezTo>
                    <a:pt x="59" y="416"/>
                    <a:pt x="29" y="416"/>
                    <a:pt x="0" y="416"/>
                  </a:cubicBezTo>
                  <a:cubicBezTo>
                    <a:pt x="0" y="461"/>
                    <a:pt x="0" y="505"/>
                    <a:pt x="22" y="542"/>
                  </a:cubicBezTo>
                  <a:cubicBezTo>
                    <a:pt x="44" y="579"/>
                    <a:pt x="89" y="557"/>
                    <a:pt x="126" y="557"/>
                  </a:cubicBezTo>
                  <a:cubicBezTo>
                    <a:pt x="170" y="550"/>
                    <a:pt x="185" y="587"/>
                    <a:pt x="230" y="602"/>
                  </a:cubicBezTo>
                  <a:cubicBezTo>
                    <a:pt x="252" y="609"/>
                    <a:pt x="297" y="617"/>
                    <a:pt x="319" y="624"/>
                  </a:cubicBezTo>
                  <a:cubicBezTo>
                    <a:pt x="356" y="631"/>
                    <a:pt x="371" y="646"/>
                    <a:pt x="408" y="646"/>
                  </a:cubicBezTo>
                  <a:cubicBezTo>
                    <a:pt x="467" y="646"/>
                    <a:pt x="534" y="646"/>
                    <a:pt x="594" y="639"/>
                  </a:cubicBezTo>
                  <a:cubicBezTo>
                    <a:pt x="661" y="631"/>
                    <a:pt x="727" y="639"/>
                    <a:pt x="787" y="639"/>
                  </a:cubicBezTo>
                  <a:cubicBezTo>
                    <a:pt x="817" y="639"/>
                    <a:pt x="846" y="631"/>
                    <a:pt x="869" y="631"/>
                  </a:cubicBezTo>
                  <a:cubicBezTo>
                    <a:pt x="898" y="631"/>
                    <a:pt x="920" y="654"/>
                    <a:pt x="950" y="654"/>
                  </a:cubicBezTo>
                  <a:cubicBezTo>
                    <a:pt x="980" y="654"/>
                    <a:pt x="1002" y="631"/>
                    <a:pt x="1032" y="624"/>
                  </a:cubicBezTo>
                  <a:cubicBezTo>
                    <a:pt x="1069" y="624"/>
                    <a:pt x="1091" y="669"/>
                    <a:pt x="1128" y="661"/>
                  </a:cubicBezTo>
                  <a:cubicBezTo>
                    <a:pt x="1151" y="661"/>
                    <a:pt x="1166" y="639"/>
                    <a:pt x="1188" y="646"/>
                  </a:cubicBezTo>
                  <a:cubicBezTo>
                    <a:pt x="1188" y="646"/>
                    <a:pt x="1195" y="661"/>
                    <a:pt x="1203" y="661"/>
                  </a:cubicBezTo>
                  <a:lnTo>
                    <a:pt x="1217" y="661"/>
                  </a:lnTo>
                  <a:cubicBezTo>
                    <a:pt x="1240" y="661"/>
                    <a:pt x="1292" y="676"/>
                    <a:pt x="1307" y="661"/>
                  </a:cubicBezTo>
                  <a:cubicBezTo>
                    <a:pt x="1322" y="654"/>
                    <a:pt x="1307" y="639"/>
                    <a:pt x="1329" y="631"/>
                  </a:cubicBezTo>
                  <a:cubicBezTo>
                    <a:pt x="1344" y="624"/>
                    <a:pt x="1366" y="631"/>
                    <a:pt x="1381" y="631"/>
                  </a:cubicBezTo>
                  <a:cubicBezTo>
                    <a:pt x="1440" y="624"/>
                    <a:pt x="1500" y="631"/>
                    <a:pt x="1552" y="631"/>
                  </a:cubicBezTo>
                  <a:cubicBezTo>
                    <a:pt x="1604" y="639"/>
                    <a:pt x="1663" y="654"/>
                    <a:pt x="1685" y="698"/>
                  </a:cubicBezTo>
                  <a:cubicBezTo>
                    <a:pt x="1708" y="706"/>
                    <a:pt x="1760" y="691"/>
                    <a:pt x="1782" y="706"/>
                  </a:cubicBezTo>
                  <a:lnTo>
                    <a:pt x="1782" y="706"/>
                  </a:lnTo>
                  <a:cubicBezTo>
                    <a:pt x="1812" y="691"/>
                    <a:pt x="1841" y="691"/>
                    <a:pt x="1864" y="676"/>
                  </a:cubicBezTo>
                  <a:cubicBezTo>
                    <a:pt x="1901" y="661"/>
                    <a:pt x="1923" y="617"/>
                    <a:pt x="1953" y="602"/>
                  </a:cubicBezTo>
                </a:path>
              </a:pathLst>
            </a:custGeom>
            <a:grpFill/>
            <a:ln w="6350" cap="flat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lIns="60927" tIns="30463" rIns="60927" bIns="30463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32" name="Freeform 24"/>
            <p:cNvSpPr>
              <a:spLocks noChangeArrowheads="1"/>
            </p:cNvSpPr>
            <p:nvPr/>
          </p:nvSpPr>
          <p:spPr bwMode="auto">
            <a:xfrm>
              <a:off x="15097883" y="6962477"/>
              <a:ext cx="379368" cy="784900"/>
            </a:xfrm>
            <a:custGeom>
              <a:avLst/>
              <a:gdLst>
                <a:gd name="T0" fmla="*/ 653 w 877"/>
                <a:gd name="T1" fmla="*/ 252 h 1819"/>
                <a:gd name="T2" fmla="*/ 564 w 877"/>
                <a:gd name="T3" fmla="*/ 230 h 1819"/>
                <a:gd name="T4" fmla="*/ 497 w 877"/>
                <a:gd name="T5" fmla="*/ 171 h 1819"/>
                <a:gd name="T6" fmla="*/ 482 w 877"/>
                <a:gd name="T7" fmla="*/ 59 h 1819"/>
                <a:gd name="T8" fmla="*/ 348 w 877"/>
                <a:gd name="T9" fmla="*/ 82 h 1819"/>
                <a:gd name="T10" fmla="*/ 259 w 877"/>
                <a:gd name="T11" fmla="*/ 104 h 1819"/>
                <a:gd name="T12" fmla="*/ 215 w 877"/>
                <a:gd name="T13" fmla="*/ 178 h 1819"/>
                <a:gd name="T14" fmla="*/ 156 w 877"/>
                <a:gd name="T15" fmla="*/ 245 h 1819"/>
                <a:gd name="T16" fmla="*/ 89 w 877"/>
                <a:gd name="T17" fmla="*/ 185 h 1819"/>
                <a:gd name="T18" fmla="*/ 7 w 877"/>
                <a:gd name="T19" fmla="*/ 274 h 1819"/>
                <a:gd name="T20" fmla="*/ 29 w 877"/>
                <a:gd name="T21" fmla="*/ 379 h 1819"/>
                <a:gd name="T22" fmla="*/ 44 w 877"/>
                <a:gd name="T23" fmla="*/ 542 h 1819"/>
                <a:gd name="T24" fmla="*/ 96 w 877"/>
                <a:gd name="T25" fmla="*/ 638 h 1819"/>
                <a:gd name="T26" fmla="*/ 103 w 877"/>
                <a:gd name="T27" fmla="*/ 750 h 1819"/>
                <a:gd name="T28" fmla="*/ 141 w 877"/>
                <a:gd name="T29" fmla="*/ 936 h 1819"/>
                <a:gd name="T30" fmla="*/ 156 w 877"/>
                <a:gd name="T31" fmla="*/ 1084 h 1819"/>
                <a:gd name="T32" fmla="*/ 200 w 877"/>
                <a:gd name="T33" fmla="*/ 1188 h 1819"/>
                <a:gd name="T34" fmla="*/ 252 w 877"/>
                <a:gd name="T35" fmla="*/ 1329 h 1819"/>
                <a:gd name="T36" fmla="*/ 289 w 877"/>
                <a:gd name="T37" fmla="*/ 1418 h 1819"/>
                <a:gd name="T38" fmla="*/ 326 w 877"/>
                <a:gd name="T39" fmla="*/ 1685 h 1819"/>
                <a:gd name="T40" fmla="*/ 378 w 877"/>
                <a:gd name="T41" fmla="*/ 1781 h 1819"/>
                <a:gd name="T42" fmla="*/ 415 w 877"/>
                <a:gd name="T43" fmla="*/ 1670 h 1819"/>
                <a:gd name="T44" fmla="*/ 467 w 877"/>
                <a:gd name="T45" fmla="*/ 1714 h 1819"/>
                <a:gd name="T46" fmla="*/ 534 w 877"/>
                <a:gd name="T47" fmla="*/ 1818 h 1819"/>
                <a:gd name="T48" fmla="*/ 616 w 877"/>
                <a:gd name="T49" fmla="*/ 1744 h 1819"/>
                <a:gd name="T50" fmla="*/ 668 w 877"/>
                <a:gd name="T51" fmla="*/ 1647 h 1819"/>
                <a:gd name="T52" fmla="*/ 750 w 877"/>
                <a:gd name="T53" fmla="*/ 1633 h 1819"/>
                <a:gd name="T54" fmla="*/ 772 w 877"/>
                <a:gd name="T55" fmla="*/ 1514 h 1819"/>
                <a:gd name="T56" fmla="*/ 727 w 877"/>
                <a:gd name="T57" fmla="*/ 1440 h 1819"/>
                <a:gd name="T58" fmla="*/ 705 w 877"/>
                <a:gd name="T59" fmla="*/ 1270 h 1819"/>
                <a:gd name="T60" fmla="*/ 660 w 877"/>
                <a:gd name="T61" fmla="*/ 1143 h 1819"/>
                <a:gd name="T62" fmla="*/ 698 w 877"/>
                <a:gd name="T63" fmla="*/ 1084 h 1819"/>
                <a:gd name="T64" fmla="*/ 809 w 877"/>
                <a:gd name="T65" fmla="*/ 1054 h 1819"/>
                <a:gd name="T66" fmla="*/ 846 w 877"/>
                <a:gd name="T67" fmla="*/ 958 h 1819"/>
                <a:gd name="T68" fmla="*/ 876 w 877"/>
                <a:gd name="T69" fmla="*/ 698 h 1819"/>
                <a:gd name="T70" fmla="*/ 816 w 877"/>
                <a:gd name="T71" fmla="*/ 453 h 1819"/>
                <a:gd name="T72" fmla="*/ 764 w 877"/>
                <a:gd name="T73" fmla="*/ 334 h 1819"/>
                <a:gd name="T74" fmla="*/ 750 w 877"/>
                <a:gd name="T75" fmla="*/ 252 h 1819"/>
                <a:gd name="T76" fmla="*/ 653 w 877"/>
                <a:gd name="T77" fmla="*/ 252 h 18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877" h="1819">
                  <a:moveTo>
                    <a:pt x="653" y="252"/>
                  </a:moveTo>
                  <a:lnTo>
                    <a:pt x="653" y="252"/>
                  </a:lnTo>
                  <a:cubicBezTo>
                    <a:pt x="638" y="252"/>
                    <a:pt x="616" y="260"/>
                    <a:pt x="601" y="252"/>
                  </a:cubicBezTo>
                  <a:cubicBezTo>
                    <a:pt x="586" y="237"/>
                    <a:pt x="594" y="237"/>
                    <a:pt x="564" y="230"/>
                  </a:cubicBezTo>
                  <a:cubicBezTo>
                    <a:pt x="534" y="223"/>
                    <a:pt x="505" y="230"/>
                    <a:pt x="475" y="215"/>
                  </a:cubicBezTo>
                  <a:cubicBezTo>
                    <a:pt x="467" y="193"/>
                    <a:pt x="490" y="193"/>
                    <a:pt x="497" y="171"/>
                  </a:cubicBezTo>
                  <a:cubicBezTo>
                    <a:pt x="505" y="156"/>
                    <a:pt x="505" y="141"/>
                    <a:pt x="505" y="126"/>
                  </a:cubicBezTo>
                  <a:cubicBezTo>
                    <a:pt x="505" y="111"/>
                    <a:pt x="490" y="82"/>
                    <a:pt x="482" y="59"/>
                  </a:cubicBezTo>
                  <a:cubicBezTo>
                    <a:pt x="460" y="67"/>
                    <a:pt x="438" y="52"/>
                    <a:pt x="415" y="52"/>
                  </a:cubicBezTo>
                  <a:cubicBezTo>
                    <a:pt x="393" y="59"/>
                    <a:pt x="378" y="89"/>
                    <a:pt x="348" y="82"/>
                  </a:cubicBezTo>
                  <a:cubicBezTo>
                    <a:pt x="341" y="52"/>
                    <a:pt x="297" y="29"/>
                    <a:pt x="282" y="0"/>
                  </a:cubicBezTo>
                  <a:cubicBezTo>
                    <a:pt x="282" y="29"/>
                    <a:pt x="282" y="82"/>
                    <a:pt x="259" y="104"/>
                  </a:cubicBezTo>
                  <a:cubicBezTo>
                    <a:pt x="245" y="111"/>
                    <a:pt x="230" y="111"/>
                    <a:pt x="222" y="133"/>
                  </a:cubicBezTo>
                  <a:cubicBezTo>
                    <a:pt x="215" y="141"/>
                    <a:pt x="215" y="163"/>
                    <a:pt x="215" y="178"/>
                  </a:cubicBezTo>
                  <a:cubicBezTo>
                    <a:pt x="208" y="178"/>
                    <a:pt x="193" y="178"/>
                    <a:pt x="178" y="178"/>
                  </a:cubicBezTo>
                  <a:cubicBezTo>
                    <a:pt x="178" y="208"/>
                    <a:pt x="178" y="223"/>
                    <a:pt x="156" y="245"/>
                  </a:cubicBezTo>
                  <a:cubicBezTo>
                    <a:pt x="141" y="260"/>
                    <a:pt x="111" y="274"/>
                    <a:pt x="89" y="267"/>
                  </a:cubicBezTo>
                  <a:cubicBezTo>
                    <a:pt x="89" y="237"/>
                    <a:pt x="89" y="215"/>
                    <a:pt x="89" y="185"/>
                  </a:cubicBezTo>
                  <a:cubicBezTo>
                    <a:pt x="81" y="185"/>
                    <a:pt x="44" y="193"/>
                    <a:pt x="7" y="193"/>
                  </a:cubicBezTo>
                  <a:cubicBezTo>
                    <a:pt x="0" y="223"/>
                    <a:pt x="0" y="252"/>
                    <a:pt x="7" y="274"/>
                  </a:cubicBezTo>
                  <a:cubicBezTo>
                    <a:pt x="7" y="282"/>
                    <a:pt x="37" y="297"/>
                    <a:pt x="37" y="319"/>
                  </a:cubicBezTo>
                  <a:cubicBezTo>
                    <a:pt x="37" y="334"/>
                    <a:pt x="29" y="356"/>
                    <a:pt x="29" y="379"/>
                  </a:cubicBezTo>
                  <a:cubicBezTo>
                    <a:pt x="37" y="401"/>
                    <a:pt x="51" y="416"/>
                    <a:pt x="51" y="438"/>
                  </a:cubicBezTo>
                  <a:cubicBezTo>
                    <a:pt x="59" y="475"/>
                    <a:pt x="51" y="512"/>
                    <a:pt x="44" y="542"/>
                  </a:cubicBezTo>
                  <a:lnTo>
                    <a:pt x="44" y="542"/>
                  </a:lnTo>
                  <a:cubicBezTo>
                    <a:pt x="81" y="527"/>
                    <a:pt x="89" y="616"/>
                    <a:pt x="96" y="638"/>
                  </a:cubicBezTo>
                  <a:cubicBezTo>
                    <a:pt x="103" y="653"/>
                    <a:pt x="103" y="676"/>
                    <a:pt x="103" y="698"/>
                  </a:cubicBezTo>
                  <a:cubicBezTo>
                    <a:pt x="96" y="713"/>
                    <a:pt x="96" y="735"/>
                    <a:pt x="103" y="750"/>
                  </a:cubicBezTo>
                  <a:cubicBezTo>
                    <a:pt x="118" y="772"/>
                    <a:pt x="141" y="779"/>
                    <a:pt x="148" y="809"/>
                  </a:cubicBezTo>
                  <a:cubicBezTo>
                    <a:pt x="148" y="846"/>
                    <a:pt x="141" y="898"/>
                    <a:pt x="141" y="936"/>
                  </a:cubicBezTo>
                  <a:cubicBezTo>
                    <a:pt x="141" y="965"/>
                    <a:pt x="133" y="987"/>
                    <a:pt x="133" y="1010"/>
                  </a:cubicBezTo>
                  <a:cubicBezTo>
                    <a:pt x="133" y="1039"/>
                    <a:pt x="148" y="1054"/>
                    <a:pt x="156" y="1084"/>
                  </a:cubicBezTo>
                  <a:cubicBezTo>
                    <a:pt x="163" y="1106"/>
                    <a:pt x="163" y="1136"/>
                    <a:pt x="178" y="1151"/>
                  </a:cubicBezTo>
                  <a:cubicBezTo>
                    <a:pt x="185" y="1166"/>
                    <a:pt x="193" y="1181"/>
                    <a:pt x="200" y="1188"/>
                  </a:cubicBezTo>
                  <a:cubicBezTo>
                    <a:pt x="222" y="1225"/>
                    <a:pt x="230" y="1255"/>
                    <a:pt x="245" y="1292"/>
                  </a:cubicBezTo>
                  <a:cubicBezTo>
                    <a:pt x="252" y="1307"/>
                    <a:pt x="252" y="1314"/>
                    <a:pt x="252" y="1329"/>
                  </a:cubicBezTo>
                  <a:cubicBezTo>
                    <a:pt x="259" y="1351"/>
                    <a:pt x="267" y="1366"/>
                    <a:pt x="274" y="1381"/>
                  </a:cubicBezTo>
                  <a:cubicBezTo>
                    <a:pt x="282" y="1389"/>
                    <a:pt x="289" y="1403"/>
                    <a:pt x="289" y="1418"/>
                  </a:cubicBezTo>
                  <a:cubicBezTo>
                    <a:pt x="297" y="1447"/>
                    <a:pt x="311" y="1469"/>
                    <a:pt x="311" y="1491"/>
                  </a:cubicBezTo>
                  <a:cubicBezTo>
                    <a:pt x="311" y="1558"/>
                    <a:pt x="319" y="1625"/>
                    <a:pt x="326" y="1685"/>
                  </a:cubicBezTo>
                  <a:cubicBezTo>
                    <a:pt x="326" y="1714"/>
                    <a:pt x="348" y="1722"/>
                    <a:pt x="348" y="1751"/>
                  </a:cubicBezTo>
                  <a:cubicBezTo>
                    <a:pt x="348" y="1774"/>
                    <a:pt x="348" y="1781"/>
                    <a:pt x="378" y="1781"/>
                  </a:cubicBezTo>
                  <a:cubicBezTo>
                    <a:pt x="408" y="1774"/>
                    <a:pt x="393" y="1751"/>
                    <a:pt x="393" y="1729"/>
                  </a:cubicBezTo>
                  <a:cubicBezTo>
                    <a:pt x="393" y="1707"/>
                    <a:pt x="393" y="1670"/>
                    <a:pt x="415" y="1670"/>
                  </a:cubicBezTo>
                  <a:cubicBezTo>
                    <a:pt x="430" y="1670"/>
                    <a:pt x="430" y="1685"/>
                    <a:pt x="438" y="1692"/>
                  </a:cubicBezTo>
                  <a:cubicBezTo>
                    <a:pt x="445" y="1699"/>
                    <a:pt x="453" y="1707"/>
                    <a:pt x="467" y="1714"/>
                  </a:cubicBezTo>
                  <a:cubicBezTo>
                    <a:pt x="482" y="1729"/>
                    <a:pt x="497" y="1744"/>
                    <a:pt x="505" y="1774"/>
                  </a:cubicBezTo>
                  <a:cubicBezTo>
                    <a:pt x="512" y="1788"/>
                    <a:pt x="512" y="1811"/>
                    <a:pt x="534" y="1818"/>
                  </a:cubicBezTo>
                  <a:cubicBezTo>
                    <a:pt x="549" y="1818"/>
                    <a:pt x="571" y="1811"/>
                    <a:pt x="594" y="1811"/>
                  </a:cubicBezTo>
                  <a:cubicBezTo>
                    <a:pt x="601" y="1788"/>
                    <a:pt x="601" y="1759"/>
                    <a:pt x="616" y="1744"/>
                  </a:cubicBezTo>
                  <a:cubicBezTo>
                    <a:pt x="631" y="1722"/>
                    <a:pt x="653" y="1736"/>
                    <a:pt x="653" y="1707"/>
                  </a:cubicBezTo>
                  <a:cubicBezTo>
                    <a:pt x="660" y="1685"/>
                    <a:pt x="653" y="1662"/>
                    <a:pt x="668" y="1647"/>
                  </a:cubicBezTo>
                  <a:cubicBezTo>
                    <a:pt x="698" y="1625"/>
                    <a:pt x="713" y="1670"/>
                    <a:pt x="735" y="1655"/>
                  </a:cubicBezTo>
                  <a:cubicBezTo>
                    <a:pt x="742" y="1655"/>
                    <a:pt x="742" y="1640"/>
                    <a:pt x="750" y="1633"/>
                  </a:cubicBezTo>
                  <a:cubicBezTo>
                    <a:pt x="750" y="1625"/>
                    <a:pt x="757" y="1625"/>
                    <a:pt x="757" y="1618"/>
                  </a:cubicBezTo>
                  <a:cubicBezTo>
                    <a:pt x="764" y="1595"/>
                    <a:pt x="750" y="1521"/>
                    <a:pt x="772" y="1514"/>
                  </a:cubicBezTo>
                  <a:cubicBezTo>
                    <a:pt x="779" y="1491"/>
                    <a:pt x="764" y="1484"/>
                    <a:pt x="757" y="1469"/>
                  </a:cubicBezTo>
                  <a:cubicBezTo>
                    <a:pt x="750" y="1462"/>
                    <a:pt x="742" y="1447"/>
                    <a:pt x="727" y="1440"/>
                  </a:cubicBezTo>
                  <a:cubicBezTo>
                    <a:pt x="705" y="1418"/>
                    <a:pt x="713" y="1389"/>
                    <a:pt x="713" y="1359"/>
                  </a:cubicBezTo>
                  <a:cubicBezTo>
                    <a:pt x="705" y="1329"/>
                    <a:pt x="690" y="1299"/>
                    <a:pt x="705" y="1270"/>
                  </a:cubicBezTo>
                  <a:cubicBezTo>
                    <a:pt x="713" y="1232"/>
                    <a:pt x="705" y="1195"/>
                    <a:pt x="705" y="1158"/>
                  </a:cubicBezTo>
                  <a:cubicBezTo>
                    <a:pt x="683" y="1166"/>
                    <a:pt x="675" y="1166"/>
                    <a:pt x="660" y="1143"/>
                  </a:cubicBezTo>
                  <a:cubicBezTo>
                    <a:pt x="660" y="1129"/>
                    <a:pt x="653" y="1091"/>
                    <a:pt x="653" y="1076"/>
                  </a:cubicBezTo>
                  <a:cubicBezTo>
                    <a:pt x="675" y="1062"/>
                    <a:pt x="683" y="1076"/>
                    <a:pt x="698" y="1084"/>
                  </a:cubicBezTo>
                  <a:cubicBezTo>
                    <a:pt x="720" y="1084"/>
                    <a:pt x="735" y="1076"/>
                    <a:pt x="757" y="1076"/>
                  </a:cubicBezTo>
                  <a:cubicBezTo>
                    <a:pt x="787" y="1076"/>
                    <a:pt x="801" y="1084"/>
                    <a:pt x="809" y="1054"/>
                  </a:cubicBezTo>
                  <a:cubicBezTo>
                    <a:pt x="816" y="1032"/>
                    <a:pt x="816" y="1010"/>
                    <a:pt x="831" y="987"/>
                  </a:cubicBezTo>
                  <a:cubicBezTo>
                    <a:pt x="839" y="980"/>
                    <a:pt x="846" y="973"/>
                    <a:pt x="846" y="958"/>
                  </a:cubicBezTo>
                  <a:cubicBezTo>
                    <a:pt x="861" y="928"/>
                    <a:pt x="861" y="891"/>
                    <a:pt x="868" y="861"/>
                  </a:cubicBezTo>
                  <a:cubicBezTo>
                    <a:pt x="868" y="809"/>
                    <a:pt x="876" y="750"/>
                    <a:pt x="876" y="698"/>
                  </a:cubicBezTo>
                  <a:cubicBezTo>
                    <a:pt x="876" y="646"/>
                    <a:pt x="861" y="601"/>
                    <a:pt x="846" y="557"/>
                  </a:cubicBezTo>
                  <a:cubicBezTo>
                    <a:pt x="831" y="527"/>
                    <a:pt x="839" y="490"/>
                    <a:pt x="816" y="453"/>
                  </a:cubicBezTo>
                  <a:cubicBezTo>
                    <a:pt x="801" y="423"/>
                    <a:pt x="779" y="401"/>
                    <a:pt x="772" y="371"/>
                  </a:cubicBezTo>
                  <a:cubicBezTo>
                    <a:pt x="772" y="364"/>
                    <a:pt x="772" y="349"/>
                    <a:pt x="764" y="334"/>
                  </a:cubicBezTo>
                  <a:cubicBezTo>
                    <a:pt x="764" y="312"/>
                    <a:pt x="764" y="312"/>
                    <a:pt x="750" y="297"/>
                  </a:cubicBezTo>
                  <a:cubicBezTo>
                    <a:pt x="727" y="274"/>
                    <a:pt x="735" y="267"/>
                    <a:pt x="750" y="252"/>
                  </a:cubicBezTo>
                  <a:lnTo>
                    <a:pt x="742" y="245"/>
                  </a:lnTo>
                  <a:cubicBezTo>
                    <a:pt x="727" y="237"/>
                    <a:pt x="675" y="252"/>
                    <a:pt x="653" y="252"/>
                  </a:cubicBezTo>
                </a:path>
              </a:pathLst>
            </a:custGeom>
            <a:grpFill/>
            <a:ln w="6350" cap="flat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lIns="60927" tIns="30463" rIns="60927" bIns="30463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33" name="Freeform 25"/>
            <p:cNvSpPr>
              <a:spLocks noChangeArrowheads="1"/>
            </p:cNvSpPr>
            <p:nvPr/>
          </p:nvSpPr>
          <p:spPr bwMode="auto">
            <a:xfrm>
              <a:off x="10389159" y="8448453"/>
              <a:ext cx="2525935" cy="2339460"/>
            </a:xfrm>
            <a:custGeom>
              <a:avLst/>
              <a:gdLst>
                <a:gd name="T0" fmla="*/ 5598 w 5844"/>
                <a:gd name="T1" fmla="*/ 839 h 5415"/>
                <a:gd name="T2" fmla="*/ 5264 w 5844"/>
                <a:gd name="T3" fmla="*/ 943 h 5415"/>
                <a:gd name="T4" fmla="*/ 4974 w 5844"/>
                <a:gd name="T5" fmla="*/ 780 h 5415"/>
                <a:gd name="T6" fmla="*/ 4870 w 5844"/>
                <a:gd name="T7" fmla="*/ 884 h 5415"/>
                <a:gd name="T8" fmla="*/ 4625 w 5844"/>
                <a:gd name="T9" fmla="*/ 1151 h 5415"/>
                <a:gd name="T10" fmla="*/ 4424 w 5844"/>
                <a:gd name="T11" fmla="*/ 1225 h 5415"/>
                <a:gd name="T12" fmla="*/ 4128 w 5844"/>
                <a:gd name="T13" fmla="*/ 1307 h 5415"/>
                <a:gd name="T14" fmla="*/ 4113 w 5844"/>
                <a:gd name="T15" fmla="*/ 1485 h 5415"/>
                <a:gd name="T16" fmla="*/ 3735 w 5844"/>
                <a:gd name="T17" fmla="*/ 1604 h 5415"/>
                <a:gd name="T18" fmla="*/ 3393 w 5844"/>
                <a:gd name="T19" fmla="*/ 1649 h 5415"/>
                <a:gd name="T20" fmla="*/ 3148 w 5844"/>
                <a:gd name="T21" fmla="*/ 1389 h 5415"/>
                <a:gd name="T22" fmla="*/ 2799 w 5844"/>
                <a:gd name="T23" fmla="*/ 1032 h 5415"/>
                <a:gd name="T24" fmla="*/ 2621 w 5844"/>
                <a:gd name="T25" fmla="*/ 973 h 5415"/>
                <a:gd name="T26" fmla="*/ 2487 w 5844"/>
                <a:gd name="T27" fmla="*/ 431 h 5415"/>
                <a:gd name="T28" fmla="*/ 2161 w 5844"/>
                <a:gd name="T29" fmla="*/ 290 h 5415"/>
                <a:gd name="T30" fmla="*/ 1982 w 5844"/>
                <a:gd name="T31" fmla="*/ 223 h 5415"/>
                <a:gd name="T32" fmla="*/ 1745 w 5844"/>
                <a:gd name="T33" fmla="*/ 304 h 5415"/>
                <a:gd name="T34" fmla="*/ 1448 w 5844"/>
                <a:gd name="T35" fmla="*/ 89 h 5415"/>
                <a:gd name="T36" fmla="*/ 1292 w 5844"/>
                <a:gd name="T37" fmla="*/ 319 h 5415"/>
                <a:gd name="T38" fmla="*/ 1069 w 5844"/>
                <a:gd name="T39" fmla="*/ 401 h 5415"/>
                <a:gd name="T40" fmla="*/ 972 w 5844"/>
                <a:gd name="T41" fmla="*/ 772 h 5415"/>
                <a:gd name="T42" fmla="*/ 750 w 5844"/>
                <a:gd name="T43" fmla="*/ 1069 h 5415"/>
                <a:gd name="T44" fmla="*/ 824 w 5844"/>
                <a:gd name="T45" fmla="*/ 1322 h 5415"/>
                <a:gd name="T46" fmla="*/ 608 w 5844"/>
                <a:gd name="T47" fmla="*/ 1730 h 5415"/>
                <a:gd name="T48" fmla="*/ 631 w 5844"/>
                <a:gd name="T49" fmla="*/ 2094 h 5415"/>
                <a:gd name="T50" fmla="*/ 586 w 5844"/>
                <a:gd name="T51" fmla="*/ 2466 h 5415"/>
                <a:gd name="T52" fmla="*/ 623 w 5844"/>
                <a:gd name="T53" fmla="*/ 2673 h 5415"/>
                <a:gd name="T54" fmla="*/ 200 w 5844"/>
                <a:gd name="T55" fmla="*/ 3290 h 5415"/>
                <a:gd name="T56" fmla="*/ 111 w 5844"/>
                <a:gd name="T57" fmla="*/ 3579 h 5415"/>
                <a:gd name="T58" fmla="*/ 0 w 5844"/>
                <a:gd name="T59" fmla="*/ 3839 h 5415"/>
                <a:gd name="T60" fmla="*/ 89 w 5844"/>
                <a:gd name="T61" fmla="*/ 4040 h 5415"/>
                <a:gd name="T62" fmla="*/ 297 w 5844"/>
                <a:gd name="T63" fmla="*/ 4099 h 5415"/>
                <a:gd name="T64" fmla="*/ 467 w 5844"/>
                <a:gd name="T65" fmla="*/ 4122 h 5415"/>
                <a:gd name="T66" fmla="*/ 282 w 5844"/>
                <a:gd name="T67" fmla="*/ 4322 h 5415"/>
                <a:gd name="T68" fmla="*/ 133 w 5844"/>
                <a:gd name="T69" fmla="*/ 4300 h 5415"/>
                <a:gd name="T70" fmla="*/ 304 w 5844"/>
                <a:gd name="T71" fmla="*/ 4419 h 5415"/>
                <a:gd name="T72" fmla="*/ 608 w 5844"/>
                <a:gd name="T73" fmla="*/ 4500 h 5415"/>
                <a:gd name="T74" fmla="*/ 824 w 5844"/>
                <a:gd name="T75" fmla="*/ 4389 h 5415"/>
                <a:gd name="T76" fmla="*/ 913 w 5844"/>
                <a:gd name="T77" fmla="*/ 4612 h 5415"/>
                <a:gd name="T78" fmla="*/ 1121 w 5844"/>
                <a:gd name="T79" fmla="*/ 4760 h 5415"/>
                <a:gd name="T80" fmla="*/ 1165 w 5844"/>
                <a:gd name="T81" fmla="*/ 5094 h 5415"/>
                <a:gd name="T82" fmla="*/ 1017 w 5844"/>
                <a:gd name="T83" fmla="*/ 5332 h 5415"/>
                <a:gd name="T84" fmla="*/ 1299 w 5844"/>
                <a:gd name="T85" fmla="*/ 5094 h 5415"/>
                <a:gd name="T86" fmla="*/ 1864 w 5844"/>
                <a:gd name="T87" fmla="*/ 5005 h 5415"/>
                <a:gd name="T88" fmla="*/ 2153 w 5844"/>
                <a:gd name="T89" fmla="*/ 4990 h 5415"/>
                <a:gd name="T90" fmla="*/ 2383 w 5844"/>
                <a:gd name="T91" fmla="*/ 4745 h 5415"/>
                <a:gd name="T92" fmla="*/ 2465 w 5844"/>
                <a:gd name="T93" fmla="*/ 4664 h 5415"/>
                <a:gd name="T94" fmla="*/ 2554 w 5844"/>
                <a:gd name="T95" fmla="*/ 4723 h 5415"/>
                <a:gd name="T96" fmla="*/ 2524 w 5844"/>
                <a:gd name="T97" fmla="*/ 4262 h 5415"/>
                <a:gd name="T98" fmla="*/ 2569 w 5844"/>
                <a:gd name="T99" fmla="*/ 3936 h 5415"/>
                <a:gd name="T100" fmla="*/ 2614 w 5844"/>
                <a:gd name="T101" fmla="*/ 3223 h 5415"/>
                <a:gd name="T102" fmla="*/ 3007 w 5844"/>
                <a:gd name="T103" fmla="*/ 2970 h 5415"/>
                <a:gd name="T104" fmla="*/ 3133 w 5844"/>
                <a:gd name="T105" fmla="*/ 3067 h 5415"/>
                <a:gd name="T106" fmla="*/ 3282 w 5844"/>
                <a:gd name="T107" fmla="*/ 2911 h 5415"/>
                <a:gd name="T108" fmla="*/ 3460 w 5844"/>
                <a:gd name="T109" fmla="*/ 2644 h 5415"/>
                <a:gd name="T110" fmla="*/ 3676 w 5844"/>
                <a:gd name="T111" fmla="*/ 2644 h 5415"/>
                <a:gd name="T112" fmla="*/ 4091 w 5844"/>
                <a:gd name="T113" fmla="*/ 2480 h 5415"/>
                <a:gd name="T114" fmla="*/ 4106 w 5844"/>
                <a:gd name="T115" fmla="*/ 2243 h 5415"/>
                <a:gd name="T116" fmla="*/ 4307 w 5844"/>
                <a:gd name="T117" fmla="*/ 2064 h 5415"/>
                <a:gd name="T118" fmla="*/ 4811 w 5844"/>
                <a:gd name="T119" fmla="*/ 1753 h 5415"/>
                <a:gd name="T120" fmla="*/ 5323 w 5844"/>
                <a:gd name="T121" fmla="*/ 1351 h 5415"/>
                <a:gd name="T122" fmla="*/ 5627 w 5844"/>
                <a:gd name="T123" fmla="*/ 1010 h 5415"/>
                <a:gd name="T124" fmla="*/ 5791 w 5844"/>
                <a:gd name="T125" fmla="*/ 713 h 54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844" h="5415">
                  <a:moveTo>
                    <a:pt x="5791" y="713"/>
                  </a:moveTo>
                  <a:lnTo>
                    <a:pt x="5791" y="713"/>
                  </a:lnTo>
                  <a:cubicBezTo>
                    <a:pt x="5754" y="713"/>
                    <a:pt x="5746" y="720"/>
                    <a:pt x="5716" y="735"/>
                  </a:cubicBezTo>
                  <a:cubicBezTo>
                    <a:pt x="5709" y="750"/>
                    <a:pt x="5724" y="765"/>
                    <a:pt x="5739" y="765"/>
                  </a:cubicBezTo>
                  <a:cubicBezTo>
                    <a:pt x="5746" y="802"/>
                    <a:pt x="5657" y="787"/>
                    <a:pt x="5627" y="809"/>
                  </a:cubicBezTo>
                  <a:cubicBezTo>
                    <a:pt x="5620" y="824"/>
                    <a:pt x="5613" y="832"/>
                    <a:pt x="5598" y="839"/>
                  </a:cubicBezTo>
                  <a:cubicBezTo>
                    <a:pt x="5590" y="839"/>
                    <a:pt x="5576" y="832"/>
                    <a:pt x="5568" y="839"/>
                  </a:cubicBezTo>
                  <a:cubicBezTo>
                    <a:pt x="5561" y="847"/>
                    <a:pt x="5598" y="891"/>
                    <a:pt x="5598" y="899"/>
                  </a:cubicBezTo>
                  <a:cubicBezTo>
                    <a:pt x="5546" y="899"/>
                    <a:pt x="5553" y="958"/>
                    <a:pt x="5509" y="958"/>
                  </a:cubicBezTo>
                  <a:cubicBezTo>
                    <a:pt x="5509" y="965"/>
                    <a:pt x="5501" y="980"/>
                    <a:pt x="5501" y="988"/>
                  </a:cubicBezTo>
                  <a:cubicBezTo>
                    <a:pt x="5464" y="988"/>
                    <a:pt x="5419" y="995"/>
                    <a:pt x="5382" y="980"/>
                  </a:cubicBezTo>
                  <a:cubicBezTo>
                    <a:pt x="5338" y="965"/>
                    <a:pt x="5316" y="943"/>
                    <a:pt x="5264" y="943"/>
                  </a:cubicBezTo>
                  <a:cubicBezTo>
                    <a:pt x="5241" y="943"/>
                    <a:pt x="5197" y="958"/>
                    <a:pt x="5189" y="921"/>
                  </a:cubicBezTo>
                  <a:cubicBezTo>
                    <a:pt x="5182" y="869"/>
                    <a:pt x="5152" y="839"/>
                    <a:pt x="5137" y="795"/>
                  </a:cubicBezTo>
                  <a:cubicBezTo>
                    <a:pt x="5122" y="795"/>
                    <a:pt x="5108" y="795"/>
                    <a:pt x="5108" y="809"/>
                  </a:cubicBezTo>
                  <a:cubicBezTo>
                    <a:pt x="5071" y="817"/>
                    <a:pt x="5033" y="743"/>
                    <a:pt x="5041" y="706"/>
                  </a:cubicBezTo>
                  <a:cubicBezTo>
                    <a:pt x="5033" y="706"/>
                    <a:pt x="5026" y="698"/>
                    <a:pt x="5019" y="698"/>
                  </a:cubicBezTo>
                  <a:cubicBezTo>
                    <a:pt x="5019" y="728"/>
                    <a:pt x="5019" y="817"/>
                    <a:pt x="4974" y="780"/>
                  </a:cubicBezTo>
                  <a:cubicBezTo>
                    <a:pt x="4967" y="787"/>
                    <a:pt x="4959" y="802"/>
                    <a:pt x="4952" y="809"/>
                  </a:cubicBezTo>
                  <a:cubicBezTo>
                    <a:pt x="4944" y="787"/>
                    <a:pt x="4944" y="765"/>
                    <a:pt x="4929" y="757"/>
                  </a:cubicBezTo>
                  <a:cubicBezTo>
                    <a:pt x="4914" y="780"/>
                    <a:pt x="4907" y="824"/>
                    <a:pt x="4907" y="854"/>
                  </a:cubicBezTo>
                  <a:cubicBezTo>
                    <a:pt x="4870" y="832"/>
                    <a:pt x="4863" y="780"/>
                    <a:pt x="4811" y="824"/>
                  </a:cubicBezTo>
                  <a:cubicBezTo>
                    <a:pt x="4781" y="847"/>
                    <a:pt x="4848" y="861"/>
                    <a:pt x="4855" y="884"/>
                  </a:cubicBezTo>
                  <a:cubicBezTo>
                    <a:pt x="4855" y="884"/>
                    <a:pt x="4863" y="884"/>
                    <a:pt x="4870" y="884"/>
                  </a:cubicBezTo>
                  <a:cubicBezTo>
                    <a:pt x="4848" y="891"/>
                    <a:pt x="4825" y="943"/>
                    <a:pt x="4803" y="958"/>
                  </a:cubicBezTo>
                  <a:cubicBezTo>
                    <a:pt x="4774" y="965"/>
                    <a:pt x="4751" y="973"/>
                    <a:pt x="4722" y="980"/>
                  </a:cubicBezTo>
                  <a:cubicBezTo>
                    <a:pt x="4699" y="980"/>
                    <a:pt x="4677" y="965"/>
                    <a:pt x="4655" y="973"/>
                  </a:cubicBezTo>
                  <a:cubicBezTo>
                    <a:pt x="4640" y="980"/>
                    <a:pt x="4669" y="1040"/>
                    <a:pt x="4625" y="1047"/>
                  </a:cubicBezTo>
                  <a:cubicBezTo>
                    <a:pt x="4603" y="1054"/>
                    <a:pt x="4588" y="1062"/>
                    <a:pt x="4588" y="1092"/>
                  </a:cubicBezTo>
                  <a:cubicBezTo>
                    <a:pt x="4580" y="1129"/>
                    <a:pt x="4625" y="1121"/>
                    <a:pt x="4625" y="1151"/>
                  </a:cubicBezTo>
                  <a:cubicBezTo>
                    <a:pt x="4647" y="1151"/>
                    <a:pt x="4647" y="1173"/>
                    <a:pt x="4640" y="1188"/>
                  </a:cubicBezTo>
                  <a:cubicBezTo>
                    <a:pt x="4610" y="1181"/>
                    <a:pt x="4603" y="1203"/>
                    <a:pt x="4603" y="1233"/>
                  </a:cubicBezTo>
                  <a:cubicBezTo>
                    <a:pt x="4617" y="1240"/>
                    <a:pt x="4617" y="1240"/>
                    <a:pt x="4617" y="1255"/>
                  </a:cubicBezTo>
                  <a:cubicBezTo>
                    <a:pt x="4580" y="1248"/>
                    <a:pt x="4566" y="1292"/>
                    <a:pt x="4536" y="1292"/>
                  </a:cubicBezTo>
                  <a:cubicBezTo>
                    <a:pt x="4514" y="1292"/>
                    <a:pt x="4499" y="1270"/>
                    <a:pt x="4491" y="1248"/>
                  </a:cubicBezTo>
                  <a:cubicBezTo>
                    <a:pt x="4477" y="1225"/>
                    <a:pt x="4454" y="1225"/>
                    <a:pt x="4424" y="1225"/>
                  </a:cubicBezTo>
                  <a:cubicBezTo>
                    <a:pt x="4424" y="1240"/>
                    <a:pt x="4424" y="1262"/>
                    <a:pt x="4424" y="1277"/>
                  </a:cubicBezTo>
                  <a:cubicBezTo>
                    <a:pt x="4380" y="1270"/>
                    <a:pt x="4292" y="1411"/>
                    <a:pt x="4277" y="1322"/>
                  </a:cubicBezTo>
                  <a:cubicBezTo>
                    <a:pt x="4292" y="1314"/>
                    <a:pt x="4335" y="1285"/>
                    <a:pt x="4299" y="1277"/>
                  </a:cubicBezTo>
                  <a:cubicBezTo>
                    <a:pt x="4284" y="1233"/>
                    <a:pt x="4262" y="1166"/>
                    <a:pt x="4210" y="1151"/>
                  </a:cubicBezTo>
                  <a:cubicBezTo>
                    <a:pt x="4180" y="1188"/>
                    <a:pt x="4166" y="1211"/>
                    <a:pt x="4121" y="1218"/>
                  </a:cubicBezTo>
                  <a:cubicBezTo>
                    <a:pt x="4113" y="1248"/>
                    <a:pt x="4136" y="1277"/>
                    <a:pt x="4128" y="1307"/>
                  </a:cubicBezTo>
                  <a:cubicBezTo>
                    <a:pt x="4136" y="1307"/>
                    <a:pt x="4136" y="1307"/>
                    <a:pt x="4143" y="1307"/>
                  </a:cubicBezTo>
                  <a:cubicBezTo>
                    <a:pt x="4143" y="1322"/>
                    <a:pt x="4136" y="1329"/>
                    <a:pt x="4121" y="1337"/>
                  </a:cubicBezTo>
                  <a:cubicBezTo>
                    <a:pt x="4099" y="1344"/>
                    <a:pt x="4106" y="1381"/>
                    <a:pt x="4106" y="1404"/>
                  </a:cubicBezTo>
                  <a:cubicBezTo>
                    <a:pt x="4113" y="1404"/>
                    <a:pt x="4121" y="1411"/>
                    <a:pt x="4136" y="1411"/>
                  </a:cubicBezTo>
                  <a:cubicBezTo>
                    <a:pt x="4136" y="1419"/>
                    <a:pt x="4136" y="1433"/>
                    <a:pt x="4136" y="1441"/>
                  </a:cubicBezTo>
                  <a:cubicBezTo>
                    <a:pt x="4106" y="1441"/>
                    <a:pt x="4113" y="1470"/>
                    <a:pt x="4113" y="1485"/>
                  </a:cubicBezTo>
                  <a:cubicBezTo>
                    <a:pt x="4091" y="1493"/>
                    <a:pt x="4084" y="1478"/>
                    <a:pt x="4069" y="1500"/>
                  </a:cubicBezTo>
                  <a:cubicBezTo>
                    <a:pt x="4062" y="1522"/>
                    <a:pt x="4069" y="1552"/>
                    <a:pt x="4032" y="1545"/>
                  </a:cubicBezTo>
                  <a:cubicBezTo>
                    <a:pt x="4010" y="1545"/>
                    <a:pt x="4010" y="1522"/>
                    <a:pt x="4002" y="1508"/>
                  </a:cubicBezTo>
                  <a:cubicBezTo>
                    <a:pt x="3987" y="1485"/>
                    <a:pt x="3958" y="1485"/>
                    <a:pt x="3935" y="1485"/>
                  </a:cubicBezTo>
                  <a:cubicBezTo>
                    <a:pt x="3883" y="1478"/>
                    <a:pt x="3868" y="1537"/>
                    <a:pt x="3824" y="1545"/>
                  </a:cubicBezTo>
                  <a:cubicBezTo>
                    <a:pt x="3772" y="1552"/>
                    <a:pt x="3742" y="1537"/>
                    <a:pt x="3735" y="1604"/>
                  </a:cubicBezTo>
                  <a:cubicBezTo>
                    <a:pt x="3713" y="1604"/>
                    <a:pt x="3698" y="1619"/>
                    <a:pt x="3683" y="1619"/>
                  </a:cubicBezTo>
                  <a:cubicBezTo>
                    <a:pt x="3661" y="1619"/>
                    <a:pt x="3638" y="1611"/>
                    <a:pt x="3623" y="1619"/>
                  </a:cubicBezTo>
                  <a:cubicBezTo>
                    <a:pt x="3586" y="1626"/>
                    <a:pt x="3571" y="1641"/>
                    <a:pt x="3527" y="1634"/>
                  </a:cubicBezTo>
                  <a:cubicBezTo>
                    <a:pt x="3482" y="1634"/>
                    <a:pt x="3438" y="1641"/>
                    <a:pt x="3393" y="1649"/>
                  </a:cubicBezTo>
                  <a:cubicBezTo>
                    <a:pt x="3393" y="1664"/>
                    <a:pt x="3393" y="1678"/>
                    <a:pt x="3393" y="1686"/>
                  </a:cubicBezTo>
                  <a:cubicBezTo>
                    <a:pt x="3393" y="1678"/>
                    <a:pt x="3393" y="1664"/>
                    <a:pt x="3393" y="1649"/>
                  </a:cubicBezTo>
                  <a:lnTo>
                    <a:pt x="3386" y="1649"/>
                  </a:lnTo>
                  <a:cubicBezTo>
                    <a:pt x="3356" y="1656"/>
                    <a:pt x="3334" y="1619"/>
                    <a:pt x="3304" y="1626"/>
                  </a:cubicBezTo>
                  <a:cubicBezTo>
                    <a:pt x="3230" y="1634"/>
                    <a:pt x="3178" y="1716"/>
                    <a:pt x="3178" y="1597"/>
                  </a:cubicBezTo>
                  <a:cubicBezTo>
                    <a:pt x="3178" y="1559"/>
                    <a:pt x="3185" y="1515"/>
                    <a:pt x="3156" y="1485"/>
                  </a:cubicBezTo>
                  <a:cubicBezTo>
                    <a:pt x="3126" y="1448"/>
                    <a:pt x="3171" y="1419"/>
                    <a:pt x="3148" y="1396"/>
                  </a:cubicBezTo>
                  <a:cubicBezTo>
                    <a:pt x="3148" y="1396"/>
                    <a:pt x="3148" y="1396"/>
                    <a:pt x="3148" y="1389"/>
                  </a:cubicBezTo>
                  <a:cubicBezTo>
                    <a:pt x="3126" y="1389"/>
                    <a:pt x="3126" y="1411"/>
                    <a:pt x="3096" y="1404"/>
                  </a:cubicBezTo>
                  <a:cubicBezTo>
                    <a:pt x="3096" y="1389"/>
                    <a:pt x="3096" y="1374"/>
                    <a:pt x="3096" y="1359"/>
                  </a:cubicBezTo>
                  <a:cubicBezTo>
                    <a:pt x="3059" y="1351"/>
                    <a:pt x="3029" y="1396"/>
                    <a:pt x="2992" y="1381"/>
                  </a:cubicBezTo>
                  <a:cubicBezTo>
                    <a:pt x="2985" y="1344"/>
                    <a:pt x="3022" y="1329"/>
                    <a:pt x="3007" y="1292"/>
                  </a:cubicBezTo>
                  <a:cubicBezTo>
                    <a:pt x="2992" y="1255"/>
                    <a:pt x="2985" y="1211"/>
                    <a:pt x="2962" y="1173"/>
                  </a:cubicBezTo>
                  <a:cubicBezTo>
                    <a:pt x="2940" y="1144"/>
                    <a:pt x="2851" y="980"/>
                    <a:pt x="2799" y="1032"/>
                  </a:cubicBezTo>
                  <a:cubicBezTo>
                    <a:pt x="2777" y="1054"/>
                    <a:pt x="2732" y="1040"/>
                    <a:pt x="2717" y="1017"/>
                  </a:cubicBezTo>
                  <a:cubicBezTo>
                    <a:pt x="2703" y="1010"/>
                    <a:pt x="2695" y="988"/>
                    <a:pt x="2680" y="980"/>
                  </a:cubicBezTo>
                  <a:cubicBezTo>
                    <a:pt x="2673" y="973"/>
                    <a:pt x="2665" y="973"/>
                    <a:pt x="2658" y="973"/>
                  </a:cubicBezTo>
                  <a:cubicBezTo>
                    <a:pt x="2658" y="988"/>
                    <a:pt x="2651" y="1010"/>
                    <a:pt x="2658" y="1017"/>
                  </a:cubicBezTo>
                  <a:cubicBezTo>
                    <a:pt x="2599" y="1047"/>
                    <a:pt x="2643" y="988"/>
                    <a:pt x="2651" y="973"/>
                  </a:cubicBezTo>
                  <a:cubicBezTo>
                    <a:pt x="2643" y="973"/>
                    <a:pt x="2636" y="973"/>
                    <a:pt x="2621" y="973"/>
                  </a:cubicBezTo>
                  <a:cubicBezTo>
                    <a:pt x="2576" y="958"/>
                    <a:pt x="2524" y="951"/>
                    <a:pt x="2487" y="914"/>
                  </a:cubicBezTo>
                  <a:cubicBezTo>
                    <a:pt x="2472" y="906"/>
                    <a:pt x="2428" y="861"/>
                    <a:pt x="2472" y="861"/>
                  </a:cubicBezTo>
                  <a:cubicBezTo>
                    <a:pt x="2480" y="832"/>
                    <a:pt x="2465" y="735"/>
                    <a:pt x="2435" y="720"/>
                  </a:cubicBezTo>
                  <a:cubicBezTo>
                    <a:pt x="2383" y="698"/>
                    <a:pt x="2406" y="661"/>
                    <a:pt x="2443" y="631"/>
                  </a:cubicBezTo>
                  <a:cubicBezTo>
                    <a:pt x="2472" y="594"/>
                    <a:pt x="2458" y="542"/>
                    <a:pt x="2472" y="498"/>
                  </a:cubicBezTo>
                  <a:cubicBezTo>
                    <a:pt x="2480" y="475"/>
                    <a:pt x="2487" y="460"/>
                    <a:pt x="2487" y="431"/>
                  </a:cubicBezTo>
                  <a:cubicBezTo>
                    <a:pt x="2487" y="409"/>
                    <a:pt x="2465" y="401"/>
                    <a:pt x="2465" y="379"/>
                  </a:cubicBezTo>
                  <a:cubicBezTo>
                    <a:pt x="2420" y="371"/>
                    <a:pt x="2376" y="327"/>
                    <a:pt x="2354" y="297"/>
                  </a:cubicBezTo>
                  <a:cubicBezTo>
                    <a:pt x="2339" y="282"/>
                    <a:pt x="2331" y="275"/>
                    <a:pt x="2316" y="282"/>
                  </a:cubicBezTo>
                  <a:cubicBezTo>
                    <a:pt x="2279" y="290"/>
                    <a:pt x="2257" y="275"/>
                    <a:pt x="2220" y="275"/>
                  </a:cubicBezTo>
                  <a:cubicBezTo>
                    <a:pt x="2220" y="297"/>
                    <a:pt x="2212" y="319"/>
                    <a:pt x="2190" y="319"/>
                  </a:cubicBezTo>
                  <a:cubicBezTo>
                    <a:pt x="2190" y="304"/>
                    <a:pt x="2175" y="282"/>
                    <a:pt x="2161" y="290"/>
                  </a:cubicBezTo>
                  <a:cubicBezTo>
                    <a:pt x="2146" y="304"/>
                    <a:pt x="2161" y="319"/>
                    <a:pt x="2153" y="334"/>
                  </a:cubicBezTo>
                  <a:cubicBezTo>
                    <a:pt x="2131" y="371"/>
                    <a:pt x="2086" y="319"/>
                    <a:pt x="2094" y="290"/>
                  </a:cubicBezTo>
                  <a:cubicBezTo>
                    <a:pt x="2086" y="290"/>
                    <a:pt x="2071" y="290"/>
                    <a:pt x="2064" y="290"/>
                  </a:cubicBezTo>
                  <a:cubicBezTo>
                    <a:pt x="2064" y="282"/>
                    <a:pt x="2064" y="267"/>
                    <a:pt x="2064" y="260"/>
                  </a:cubicBezTo>
                  <a:cubicBezTo>
                    <a:pt x="2042" y="260"/>
                    <a:pt x="2012" y="267"/>
                    <a:pt x="1997" y="252"/>
                  </a:cubicBezTo>
                  <a:cubicBezTo>
                    <a:pt x="1990" y="252"/>
                    <a:pt x="1990" y="230"/>
                    <a:pt x="1982" y="223"/>
                  </a:cubicBezTo>
                  <a:cubicBezTo>
                    <a:pt x="1975" y="223"/>
                    <a:pt x="1967" y="223"/>
                    <a:pt x="1960" y="223"/>
                  </a:cubicBezTo>
                  <a:cubicBezTo>
                    <a:pt x="1960" y="245"/>
                    <a:pt x="1960" y="267"/>
                    <a:pt x="1960" y="282"/>
                  </a:cubicBezTo>
                  <a:cubicBezTo>
                    <a:pt x="1930" y="297"/>
                    <a:pt x="1945" y="327"/>
                    <a:pt x="1960" y="342"/>
                  </a:cubicBezTo>
                  <a:cubicBezTo>
                    <a:pt x="1915" y="349"/>
                    <a:pt x="1908" y="297"/>
                    <a:pt x="1871" y="297"/>
                  </a:cubicBezTo>
                  <a:cubicBezTo>
                    <a:pt x="1864" y="304"/>
                    <a:pt x="1864" y="304"/>
                    <a:pt x="1864" y="312"/>
                  </a:cubicBezTo>
                  <a:cubicBezTo>
                    <a:pt x="1826" y="304"/>
                    <a:pt x="1782" y="312"/>
                    <a:pt x="1745" y="304"/>
                  </a:cubicBezTo>
                  <a:cubicBezTo>
                    <a:pt x="1745" y="282"/>
                    <a:pt x="1745" y="252"/>
                    <a:pt x="1767" y="238"/>
                  </a:cubicBezTo>
                  <a:cubicBezTo>
                    <a:pt x="1782" y="230"/>
                    <a:pt x="1797" y="223"/>
                    <a:pt x="1789" y="201"/>
                  </a:cubicBezTo>
                  <a:cubicBezTo>
                    <a:pt x="1759" y="193"/>
                    <a:pt x="1722" y="208"/>
                    <a:pt x="1693" y="201"/>
                  </a:cubicBezTo>
                  <a:cubicBezTo>
                    <a:pt x="1693" y="171"/>
                    <a:pt x="1693" y="134"/>
                    <a:pt x="1693" y="97"/>
                  </a:cubicBezTo>
                  <a:cubicBezTo>
                    <a:pt x="1656" y="97"/>
                    <a:pt x="1618" y="97"/>
                    <a:pt x="1581" y="82"/>
                  </a:cubicBezTo>
                  <a:cubicBezTo>
                    <a:pt x="1537" y="67"/>
                    <a:pt x="1492" y="97"/>
                    <a:pt x="1448" y="89"/>
                  </a:cubicBezTo>
                  <a:cubicBezTo>
                    <a:pt x="1448" y="52"/>
                    <a:pt x="1351" y="22"/>
                    <a:pt x="1336" y="0"/>
                  </a:cubicBezTo>
                  <a:cubicBezTo>
                    <a:pt x="1329" y="7"/>
                    <a:pt x="1314" y="22"/>
                    <a:pt x="1307" y="22"/>
                  </a:cubicBezTo>
                  <a:cubicBezTo>
                    <a:pt x="1307" y="59"/>
                    <a:pt x="1373" y="82"/>
                    <a:pt x="1336" y="126"/>
                  </a:cubicBezTo>
                  <a:cubicBezTo>
                    <a:pt x="1329" y="141"/>
                    <a:pt x="1307" y="134"/>
                    <a:pt x="1299" y="149"/>
                  </a:cubicBezTo>
                  <a:cubicBezTo>
                    <a:pt x="1284" y="171"/>
                    <a:pt x="1314" y="163"/>
                    <a:pt x="1314" y="186"/>
                  </a:cubicBezTo>
                  <a:cubicBezTo>
                    <a:pt x="1314" y="215"/>
                    <a:pt x="1314" y="297"/>
                    <a:pt x="1292" y="319"/>
                  </a:cubicBezTo>
                  <a:cubicBezTo>
                    <a:pt x="1247" y="371"/>
                    <a:pt x="1210" y="364"/>
                    <a:pt x="1151" y="371"/>
                  </a:cubicBezTo>
                  <a:cubicBezTo>
                    <a:pt x="1151" y="386"/>
                    <a:pt x="1158" y="386"/>
                    <a:pt x="1173" y="394"/>
                  </a:cubicBezTo>
                  <a:cubicBezTo>
                    <a:pt x="1195" y="409"/>
                    <a:pt x="1195" y="438"/>
                    <a:pt x="1210" y="453"/>
                  </a:cubicBezTo>
                  <a:cubicBezTo>
                    <a:pt x="1210" y="453"/>
                    <a:pt x="1202" y="460"/>
                    <a:pt x="1195" y="468"/>
                  </a:cubicBezTo>
                  <a:cubicBezTo>
                    <a:pt x="1165" y="468"/>
                    <a:pt x="1121" y="460"/>
                    <a:pt x="1099" y="490"/>
                  </a:cubicBezTo>
                  <a:cubicBezTo>
                    <a:pt x="1121" y="446"/>
                    <a:pt x="1062" y="438"/>
                    <a:pt x="1069" y="401"/>
                  </a:cubicBezTo>
                  <a:cubicBezTo>
                    <a:pt x="1054" y="394"/>
                    <a:pt x="1039" y="394"/>
                    <a:pt x="1024" y="401"/>
                  </a:cubicBezTo>
                  <a:cubicBezTo>
                    <a:pt x="1032" y="438"/>
                    <a:pt x="1002" y="446"/>
                    <a:pt x="987" y="468"/>
                  </a:cubicBezTo>
                  <a:cubicBezTo>
                    <a:pt x="965" y="505"/>
                    <a:pt x="995" y="549"/>
                    <a:pt x="950" y="564"/>
                  </a:cubicBezTo>
                  <a:cubicBezTo>
                    <a:pt x="853" y="594"/>
                    <a:pt x="987" y="661"/>
                    <a:pt x="980" y="713"/>
                  </a:cubicBezTo>
                  <a:lnTo>
                    <a:pt x="1010" y="713"/>
                  </a:lnTo>
                  <a:cubicBezTo>
                    <a:pt x="1017" y="750"/>
                    <a:pt x="1002" y="757"/>
                    <a:pt x="972" y="772"/>
                  </a:cubicBezTo>
                  <a:cubicBezTo>
                    <a:pt x="935" y="787"/>
                    <a:pt x="905" y="824"/>
                    <a:pt x="883" y="869"/>
                  </a:cubicBezTo>
                  <a:cubicBezTo>
                    <a:pt x="876" y="876"/>
                    <a:pt x="868" y="951"/>
                    <a:pt x="853" y="951"/>
                  </a:cubicBezTo>
                  <a:cubicBezTo>
                    <a:pt x="831" y="958"/>
                    <a:pt x="794" y="936"/>
                    <a:pt x="772" y="951"/>
                  </a:cubicBezTo>
                  <a:cubicBezTo>
                    <a:pt x="779" y="973"/>
                    <a:pt x="765" y="980"/>
                    <a:pt x="742" y="980"/>
                  </a:cubicBezTo>
                  <a:cubicBezTo>
                    <a:pt x="750" y="995"/>
                    <a:pt x="750" y="1010"/>
                    <a:pt x="727" y="1017"/>
                  </a:cubicBezTo>
                  <a:cubicBezTo>
                    <a:pt x="727" y="1047"/>
                    <a:pt x="742" y="1047"/>
                    <a:pt x="750" y="1069"/>
                  </a:cubicBezTo>
                  <a:cubicBezTo>
                    <a:pt x="765" y="1106"/>
                    <a:pt x="742" y="1136"/>
                    <a:pt x="735" y="1166"/>
                  </a:cubicBezTo>
                  <a:cubicBezTo>
                    <a:pt x="727" y="1173"/>
                    <a:pt x="727" y="1181"/>
                    <a:pt x="727" y="1196"/>
                  </a:cubicBezTo>
                  <a:cubicBezTo>
                    <a:pt x="757" y="1188"/>
                    <a:pt x="824" y="1203"/>
                    <a:pt x="824" y="1203"/>
                  </a:cubicBezTo>
                  <a:cubicBezTo>
                    <a:pt x="824" y="1211"/>
                    <a:pt x="831" y="1255"/>
                    <a:pt x="831" y="1255"/>
                  </a:cubicBezTo>
                  <a:cubicBezTo>
                    <a:pt x="824" y="1255"/>
                    <a:pt x="816" y="1255"/>
                    <a:pt x="809" y="1255"/>
                  </a:cubicBezTo>
                  <a:cubicBezTo>
                    <a:pt x="809" y="1270"/>
                    <a:pt x="802" y="1322"/>
                    <a:pt x="824" y="1322"/>
                  </a:cubicBezTo>
                  <a:cubicBezTo>
                    <a:pt x="824" y="1337"/>
                    <a:pt x="824" y="1359"/>
                    <a:pt x="816" y="1374"/>
                  </a:cubicBezTo>
                  <a:cubicBezTo>
                    <a:pt x="757" y="1374"/>
                    <a:pt x="816" y="1463"/>
                    <a:pt x="809" y="1500"/>
                  </a:cubicBezTo>
                  <a:cubicBezTo>
                    <a:pt x="802" y="1530"/>
                    <a:pt x="742" y="1582"/>
                    <a:pt x="712" y="1574"/>
                  </a:cubicBezTo>
                  <a:cubicBezTo>
                    <a:pt x="712" y="1597"/>
                    <a:pt x="712" y="1619"/>
                    <a:pt x="712" y="1634"/>
                  </a:cubicBezTo>
                  <a:cubicBezTo>
                    <a:pt x="668" y="1634"/>
                    <a:pt x="668" y="1649"/>
                    <a:pt x="660" y="1693"/>
                  </a:cubicBezTo>
                  <a:cubicBezTo>
                    <a:pt x="631" y="1693"/>
                    <a:pt x="601" y="1693"/>
                    <a:pt x="608" y="1730"/>
                  </a:cubicBezTo>
                  <a:cubicBezTo>
                    <a:pt x="638" y="1738"/>
                    <a:pt x="646" y="1760"/>
                    <a:pt x="675" y="1760"/>
                  </a:cubicBezTo>
                  <a:cubicBezTo>
                    <a:pt x="697" y="1767"/>
                    <a:pt x="720" y="1760"/>
                    <a:pt x="742" y="1760"/>
                  </a:cubicBezTo>
                  <a:cubicBezTo>
                    <a:pt x="765" y="1767"/>
                    <a:pt x="831" y="1767"/>
                    <a:pt x="816" y="1805"/>
                  </a:cubicBezTo>
                  <a:cubicBezTo>
                    <a:pt x="742" y="1812"/>
                    <a:pt x="631" y="1894"/>
                    <a:pt x="616" y="1975"/>
                  </a:cubicBezTo>
                  <a:cubicBezTo>
                    <a:pt x="586" y="1968"/>
                    <a:pt x="542" y="2013"/>
                    <a:pt x="586" y="2042"/>
                  </a:cubicBezTo>
                  <a:cubicBezTo>
                    <a:pt x="616" y="2057"/>
                    <a:pt x="646" y="2042"/>
                    <a:pt x="631" y="2094"/>
                  </a:cubicBezTo>
                  <a:cubicBezTo>
                    <a:pt x="623" y="2139"/>
                    <a:pt x="623" y="2176"/>
                    <a:pt x="594" y="2221"/>
                  </a:cubicBezTo>
                  <a:cubicBezTo>
                    <a:pt x="571" y="2258"/>
                    <a:pt x="616" y="2280"/>
                    <a:pt x="608" y="2317"/>
                  </a:cubicBezTo>
                  <a:cubicBezTo>
                    <a:pt x="594" y="2317"/>
                    <a:pt x="586" y="2317"/>
                    <a:pt x="571" y="2317"/>
                  </a:cubicBezTo>
                  <a:cubicBezTo>
                    <a:pt x="564" y="2339"/>
                    <a:pt x="586" y="2369"/>
                    <a:pt x="571" y="2399"/>
                  </a:cubicBezTo>
                  <a:cubicBezTo>
                    <a:pt x="594" y="2399"/>
                    <a:pt x="601" y="2413"/>
                    <a:pt x="601" y="2428"/>
                  </a:cubicBezTo>
                  <a:cubicBezTo>
                    <a:pt x="586" y="2436"/>
                    <a:pt x="586" y="2451"/>
                    <a:pt x="586" y="2466"/>
                  </a:cubicBezTo>
                  <a:cubicBezTo>
                    <a:pt x="564" y="2466"/>
                    <a:pt x="542" y="2495"/>
                    <a:pt x="534" y="2518"/>
                  </a:cubicBezTo>
                  <a:cubicBezTo>
                    <a:pt x="497" y="2532"/>
                    <a:pt x="408" y="2495"/>
                    <a:pt x="423" y="2562"/>
                  </a:cubicBezTo>
                  <a:cubicBezTo>
                    <a:pt x="475" y="2562"/>
                    <a:pt x="512" y="2599"/>
                    <a:pt x="564" y="2599"/>
                  </a:cubicBezTo>
                  <a:cubicBezTo>
                    <a:pt x="586" y="2607"/>
                    <a:pt x="646" y="2599"/>
                    <a:pt x="653" y="2629"/>
                  </a:cubicBezTo>
                  <a:cubicBezTo>
                    <a:pt x="668" y="2629"/>
                    <a:pt x="675" y="2629"/>
                    <a:pt x="690" y="2629"/>
                  </a:cubicBezTo>
                  <a:cubicBezTo>
                    <a:pt x="690" y="2681"/>
                    <a:pt x="660" y="2673"/>
                    <a:pt x="623" y="2673"/>
                  </a:cubicBezTo>
                  <a:cubicBezTo>
                    <a:pt x="571" y="2740"/>
                    <a:pt x="608" y="2881"/>
                    <a:pt x="601" y="2956"/>
                  </a:cubicBezTo>
                  <a:cubicBezTo>
                    <a:pt x="497" y="2956"/>
                    <a:pt x="297" y="2859"/>
                    <a:pt x="252" y="3000"/>
                  </a:cubicBezTo>
                  <a:cubicBezTo>
                    <a:pt x="245" y="3037"/>
                    <a:pt x="245" y="3082"/>
                    <a:pt x="282" y="3097"/>
                  </a:cubicBezTo>
                  <a:cubicBezTo>
                    <a:pt x="289" y="3112"/>
                    <a:pt x="289" y="3126"/>
                    <a:pt x="289" y="3141"/>
                  </a:cubicBezTo>
                  <a:cubicBezTo>
                    <a:pt x="237" y="3141"/>
                    <a:pt x="237" y="3163"/>
                    <a:pt x="230" y="3208"/>
                  </a:cubicBezTo>
                  <a:cubicBezTo>
                    <a:pt x="230" y="3245"/>
                    <a:pt x="170" y="3268"/>
                    <a:pt x="200" y="3290"/>
                  </a:cubicBezTo>
                  <a:cubicBezTo>
                    <a:pt x="222" y="3320"/>
                    <a:pt x="282" y="3349"/>
                    <a:pt x="282" y="3394"/>
                  </a:cubicBezTo>
                  <a:cubicBezTo>
                    <a:pt x="282" y="3416"/>
                    <a:pt x="274" y="3453"/>
                    <a:pt x="289" y="3468"/>
                  </a:cubicBezTo>
                  <a:cubicBezTo>
                    <a:pt x="289" y="3475"/>
                    <a:pt x="311" y="3475"/>
                    <a:pt x="311" y="3483"/>
                  </a:cubicBezTo>
                  <a:cubicBezTo>
                    <a:pt x="326" y="3527"/>
                    <a:pt x="289" y="3535"/>
                    <a:pt x="267" y="3565"/>
                  </a:cubicBezTo>
                  <a:cubicBezTo>
                    <a:pt x="245" y="3602"/>
                    <a:pt x="230" y="3579"/>
                    <a:pt x="193" y="3572"/>
                  </a:cubicBezTo>
                  <a:cubicBezTo>
                    <a:pt x="170" y="3565"/>
                    <a:pt x="141" y="3579"/>
                    <a:pt x="111" y="3579"/>
                  </a:cubicBezTo>
                  <a:cubicBezTo>
                    <a:pt x="74" y="3587"/>
                    <a:pt x="59" y="3535"/>
                    <a:pt x="37" y="3513"/>
                  </a:cubicBezTo>
                  <a:cubicBezTo>
                    <a:pt x="29" y="3527"/>
                    <a:pt x="29" y="3550"/>
                    <a:pt x="14" y="3550"/>
                  </a:cubicBezTo>
                  <a:cubicBezTo>
                    <a:pt x="7" y="3594"/>
                    <a:pt x="14" y="3609"/>
                    <a:pt x="66" y="3609"/>
                  </a:cubicBezTo>
                  <a:cubicBezTo>
                    <a:pt x="59" y="3661"/>
                    <a:pt x="52" y="3706"/>
                    <a:pt x="44" y="3750"/>
                  </a:cubicBezTo>
                  <a:cubicBezTo>
                    <a:pt x="37" y="3750"/>
                    <a:pt x="29" y="3758"/>
                    <a:pt x="22" y="3758"/>
                  </a:cubicBezTo>
                  <a:cubicBezTo>
                    <a:pt x="22" y="3758"/>
                    <a:pt x="7" y="3832"/>
                    <a:pt x="0" y="3839"/>
                  </a:cubicBezTo>
                  <a:cubicBezTo>
                    <a:pt x="0" y="3862"/>
                    <a:pt x="0" y="3891"/>
                    <a:pt x="14" y="3906"/>
                  </a:cubicBezTo>
                  <a:cubicBezTo>
                    <a:pt x="29" y="3921"/>
                    <a:pt x="44" y="3921"/>
                    <a:pt x="37" y="3943"/>
                  </a:cubicBezTo>
                  <a:cubicBezTo>
                    <a:pt x="66" y="3951"/>
                    <a:pt x="74" y="3980"/>
                    <a:pt x="103" y="3980"/>
                  </a:cubicBezTo>
                  <a:cubicBezTo>
                    <a:pt x="118" y="3973"/>
                    <a:pt x="148" y="3965"/>
                    <a:pt x="141" y="3995"/>
                  </a:cubicBezTo>
                  <a:cubicBezTo>
                    <a:pt x="118" y="3995"/>
                    <a:pt x="103" y="4003"/>
                    <a:pt x="103" y="4025"/>
                  </a:cubicBezTo>
                  <a:cubicBezTo>
                    <a:pt x="96" y="4032"/>
                    <a:pt x="96" y="4025"/>
                    <a:pt x="89" y="4040"/>
                  </a:cubicBezTo>
                  <a:lnTo>
                    <a:pt x="81" y="4040"/>
                  </a:lnTo>
                  <a:cubicBezTo>
                    <a:pt x="81" y="4055"/>
                    <a:pt x="81" y="4077"/>
                    <a:pt x="111" y="4077"/>
                  </a:cubicBezTo>
                  <a:cubicBezTo>
                    <a:pt x="111" y="4099"/>
                    <a:pt x="96" y="4144"/>
                    <a:pt x="133" y="4144"/>
                  </a:cubicBezTo>
                  <a:cubicBezTo>
                    <a:pt x="155" y="4151"/>
                    <a:pt x="193" y="4136"/>
                    <a:pt x="200" y="4159"/>
                  </a:cubicBezTo>
                  <a:cubicBezTo>
                    <a:pt x="215" y="4159"/>
                    <a:pt x="222" y="4159"/>
                    <a:pt x="237" y="4159"/>
                  </a:cubicBezTo>
                  <a:cubicBezTo>
                    <a:pt x="245" y="4122"/>
                    <a:pt x="245" y="4084"/>
                    <a:pt x="297" y="4099"/>
                  </a:cubicBezTo>
                  <a:cubicBezTo>
                    <a:pt x="319" y="4099"/>
                    <a:pt x="356" y="4114"/>
                    <a:pt x="363" y="4084"/>
                  </a:cubicBezTo>
                  <a:cubicBezTo>
                    <a:pt x="371" y="4084"/>
                    <a:pt x="371" y="4084"/>
                    <a:pt x="371" y="4084"/>
                  </a:cubicBezTo>
                  <a:cubicBezTo>
                    <a:pt x="371" y="4099"/>
                    <a:pt x="378" y="4122"/>
                    <a:pt x="378" y="4144"/>
                  </a:cubicBezTo>
                  <a:cubicBezTo>
                    <a:pt x="400" y="4144"/>
                    <a:pt x="438" y="4188"/>
                    <a:pt x="445" y="4173"/>
                  </a:cubicBezTo>
                  <a:cubicBezTo>
                    <a:pt x="445" y="4166"/>
                    <a:pt x="430" y="4107"/>
                    <a:pt x="430" y="4092"/>
                  </a:cubicBezTo>
                  <a:cubicBezTo>
                    <a:pt x="445" y="4107"/>
                    <a:pt x="460" y="4092"/>
                    <a:pt x="467" y="4122"/>
                  </a:cubicBezTo>
                  <a:cubicBezTo>
                    <a:pt x="467" y="4136"/>
                    <a:pt x="475" y="4144"/>
                    <a:pt x="475" y="4151"/>
                  </a:cubicBezTo>
                  <a:cubicBezTo>
                    <a:pt x="482" y="4173"/>
                    <a:pt x="497" y="4196"/>
                    <a:pt x="519" y="4196"/>
                  </a:cubicBezTo>
                  <a:cubicBezTo>
                    <a:pt x="534" y="4248"/>
                    <a:pt x="445" y="4211"/>
                    <a:pt x="423" y="4233"/>
                  </a:cubicBezTo>
                  <a:cubicBezTo>
                    <a:pt x="393" y="4262"/>
                    <a:pt x="400" y="4330"/>
                    <a:pt x="445" y="4344"/>
                  </a:cubicBezTo>
                  <a:cubicBezTo>
                    <a:pt x="505" y="4359"/>
                    <a:pt x="430" y="4448"/>
                    <a:pt x="408" y="4381"/>
                  </a:cubicBezTo>
                  <a:cubicBezTo>
                    <a:pt x="378" y="4330"/>
                    <a:pt x="341" y="4315"/>
                    <a:pt x="282" y="4322"/>
                  </a:cubicBezTo>
                  <a:cubicBezTo>
                    <a:pt x="282" y="4337"/>
                    <a:pt x="267" y="4344"/>
                    <a:pt x="252" y="4344"/>
                  </a:cubicBezTo>
                  <a:cubicBezTo>
                    <a:pt x="252" y="4277"/>
                    <a:pt x="193" y="4307"/>
                    <a:pt x="178" y="4262"/>
                  </a:cubicBezTo>
                  <a:cubicBezTo>
                    <a:pt x="163" y="4211"/>
                    <a:pt x="126" y="4181"/>
                    <a:pt x="74" y="4181"/>
                  </a:cubicBezTo>
                  <a:cubicBezTo>
                    <a:pt x="66" y="4188"/>
                    <a:pt x="66" y="4196"/>
                    <a:pt x="66" y="4211"/>
                  </a:cubicBezTo>
                  <a:cubicBezTo>
                    <a:pt x="89" y="4211"/>
                    <a:pt x="111" y="4233"/>
                    <a:pt x="133" y="4233"/>
                  </a:cubicBezTo>
                  <a:cubicBezTo>
                    <a:pt x="133" y="4255"/>
                    <a:pt x="111" y="4285"/>
                    <a:pt x="133" y="4300"/>
                  </a:cubicBezTo>
                  <a:cubicBezTo>
                    <a:pt x="141" y="4307"/>
                    <a:pt x="155" y="4307"/>
                    <a:pt x="170" y="4322"/>
                  </a:cubicBezTo>
                  <a:cubicBezTo>
                    <a:pt x="200" y="4352"/>
                    <a:pt x="200" y="4404"/>
                    <a:pt x="148" y="4404"/>
                  </a:cubicBezTo>
                  <a:cubicBezTo>
                    <a:pt x="141" y="4426"/>
                    <a:pt x="126" y="4456"/>
                    <a:pt x="133" y="4478"/>
                  </a:cubicBezTo>
                  <a:cubicBezTo>
                    <a:pt x="163" y="4485"/>
                    <a:pt x="200" y="4493"/>
                    <a:pt x="230" y="4485"/>
                  </a:cubicBezTo>
                  <a:cubicBezTo>
                    <a:pt x="252" y="4485"/>
                    <a:pt x="237" y="4396"/>
                    <a:pt x="237" y="4381"/>
                  </a:cubicBezTo>
                  <a:cubicBezTo>
                    <a:pt x="274" y="4374"/>
                    <a:pt x="282" y="4404"/>
                    <a:pt x="304" y="4419"/>
                  </a:cubicBezTo>
                  <a:cubicBezTo>
                    <a:pt x="334" y="4441"/>
                    <a:pt x="400" y="4441"/>
                    <a:pt x="438" y="4441"/>
                  </a:cubicBezTo>
                  <a:cubicBezTo>
                    <a:pt x="438" y="4478"/>
                    <a:pt x="430" y="4522"/>
                    <a:pt x="475" y="4522"/>
                  </a:cubicBezTo>
                  <a:cubicBezTo>
                    <a:pt x="467" y="4530"/>
                    <a:pt x="475" y="4545"/>
                    <a:pt x="475" y="4545"/>
                  </a:cubicBezTo>
                  <a:cubicBezTo>
                    <a:pt x="490" y="4545"/>
                    <a:pt x="490" y="4522"/>
                    <a:pt x="490" y="4515"/>
                  </a:cubicBezTo>
                  <a:cubicBezTo>
                    <a:pt x="527" y="4515"/>
                    <a:pt x="571" y="4515"/>
                    <a:pt x="608" y="4515"/>
                  </a:cubicBezTo>
                  <a:cubicBezTo>
                    <a:pt x="608" y="4508"/>
                    <a:pt x="608" y="4508"/>
                    <a:pt x="608" y="4500"/>
                  </a:cubicBezTo>
                  <a:cubicBezTo>
                    <a:pt x="631" y="4500"/>
                    <a:pt x="660" y="4500"/>
                    <a:pt x="675" y="4485"/>
                  </a:cubicBezTo>
                  <a:cubicBezTo>
                    <a:pt x="690" y="4463"/>
                    <a:pt x="705" y="4448"/>
                    <a:pt x="727" y="4441"/>
                  </a:cubicBezTo>
                  <a:cubicBezTo>
                    <a:pt x="727" y="4426"/>
                    <a:pt x="735" y="4411"/>
                    <a:pt x="720" y="4396"/>
                  </a:cubicBezTo>
                  <a:cubicBezTo>
                    <a:pt x="742" y="4396"/>
                    <a:pt x="802" y="4389"/>
                    <a:pt x="802" y="4419"/>
                  </a:cubicBezTo>
                  <a:cubicBezTo>
                    <a:pt x="809" y="4419"/>
                    <a:pt x="816" y="4419"/>
                    <a:pt x="824" y="4419"/>
                  </a:cubicBezTo>
                  <a:cubicBezTo>
                    <a:pt x="824" y="4411"/>
                    <a:pt x="824" y="4396"/>
                    <a:pt x="824" y="4389"/>
                  </a:cubicBezTo>
                  <a:cubicBezTo>
                    <a:pt x="831" y="4389"/>
                    <a:pt x="846" y="4389"/>
                    <a:pt x="853" y="4389"/>
                  </a:cubicBezTo>
                  <a:cubicBezTo>
                    <a:pt x="853" y="4426"/>
                    <a:pt x="824" y="4441"/>
                    <a:pt x="831" y="4478"/>
                  </a:cubicBezTo>
                  <a:cubicBezTo>
                    <a:pt x="831" y="4478"/>
                    <a:pt x="846" y="4478"/>
                    <a:pt x="853" y="4478"/>
                  </a:cubicBezTo>
                  <a:cubicBezTo>
                    <a:pt x="846" y="4448"/>
                    <a:pt x="905" y="4448"/>
                    <a:pt x="928" y="4456"/>
                  </a:cubicBezTo>
                  <a:cubicBezTo>
                    <a:pt x="965" y="4470"/>
                    <a:pt x="943" y="4560"/>
                    <a:pt x="935" y="4589"/>
                  </a:cubicBezTo>
                  <a:cubicBezTo>
                    <a:pt x="913" y="4589"/>
                    <a:pt x="891" y="4589"/>
                    <a:pt x="913" y="4612"/>
                  </a:cubicBezTo>
                  <a:cubicBezTo>
                    <a:pt x="935" y="4619"/>
                    <a:pt x="943" y="4604"/>
                    <a:pt x="965" y="4612"/>
                  </a:cubicBezTo>
                  <a:cubicBezTo>
                    <a:pt x="972" y="4619"/>
                    <a:pt x="980" y="4619"/>
                    <a:pt x="987" y="4627"/>
                  </a:cubicBezTo>
                  <a:cubicBezTo>
                    <a:pt x="987" y="4649"/>
                    <a:pt x="980" y="4664"/>
                    <a:pt x="980" y="4693"/>
                  </a:cubicBezTo>
                  <a:cubicBezTo>
                    <a:pt x="987" y="4693"/>
                    <a:pt x="987" y="4693"/>
                    <a:pt x="995" y="4693"/>
                  </a:cubicBezTo>
                  <a:cubicBezTo>
                    <a:pt x="995" y="4656"/>
                    <a:pt x="1091" y="4656"/>
                    <a:pt x="1113" y="4671"/>
                  </a:cubicBezTo>
                  <a:cubicBezTo>
                    <a:pt x="1136" y="4686"/>
                    <a:pt x="1121" y="4738"/>
                    <a:pt x="1121" y="4760"/>
                  </a:cubicBezTo>
                  <a:cubicBezTo>
                    <a:pt x="1113" y="4782"/>
                    <a:pt x="1113" y="4805"/>
                    <a:pt x="1113" y="4827"/>
                  </a:cubicBezTo>
                  <a:cubicBezTo>
                    <a:pt x="1121" y="4842"/>
                    <a:pt x="1128" y="4857"/>
                    <a:pt x="1128" y="4872"/>
                  </a:cubicBezTo>
                  <a:cubicBezTo>
                    <a:pt x="1165" y="4872"/>
                    <a:pt x="1217" y="4857"/>
                    <a:pt x="1255" y="4879"/>
                  </a:cubicBezTo>
                  <a:cubicBezTo>
                    <a:pt x="1277" y="4894"/>
                    <a:pt x="1255" y="4983"/>
                    <a:pt x="1247" y="5005"/>
                  </a:cubicBezTo>
                  <a:cubicBezTo>
                    <a:pt x="1225" y="5005"/>
                    <a:pt x="1232" y="5042"/>
                    <a:pt x="1232" y="5057"/>
                  </a:cubicBezTo>
                  <a:cubicBezTo>
                    <a:pt x="1195" y="5057"/>
                    <a:pt x="1173" y="5057"/>
                    <a:pt x="1165" y="5094"/>
                  </a:cubicBezTo>
                  <a:cubicBezTo>
                    <a:pt x="1165" y="5117"/>
                    <a:pt x="1202" y="5206"/>
                    <a:pt x="1158" y="5206"/>
                  </a:cubicBezTo>
                  <a:cubicBezTo>
                    <a:pt x="1121" y="5206"/>
                    <a:pt x="1113" y="5132"/>
                    <a:pt x="1069" y="5132"/>
                  </a:cubicBezTo>
                  <a:cubicBezTo>
                    <a:pt x="1017" y="5139"/>
                    <a:pt x="1062" y="5183"/>
                    <a:pt x="1099" y="5183"/>
                  </a:cubicBezTo>
                  <a:cubicBezTo>
                    <a:pt x="1106" y="5213"/>
                    <a:pt x="1054" y="5213"/>
                    <a:pt x="1039" y="5221"/>
                  </a:cubicBezTo>
                  <a:cubicBezTo>
                    <a:pt x="1024" y="5228"/>
                    <a:pt x="1017" y="5265"/>
                    <a:pt x="1010" y="5295"/>
                  </a:cubicBezTo>
                  <a:cubicBezTo>
                    <a:pt x="1017" y="5302"/>
                    <a:pt x="1010" y="5324"/>
                    <a:pt x="1017" y="5332"/>
                  </a:cubicBezTo>
                  <a:cubicBezTo>
                    <a:pt x="1024" y="5354"/>
                    <a:pt x="1069" y="5377"/>
                    <a:pt x="1091" y="5384"/>
                  </a:cubicBezTo>
                  <a:cubicBezTo>
                    <a:pt x="1143" y="5414"/>
                    <a:pt x="1180" y="5362"/>
                    <a:pt x="1217" y="5332"/>
                  </a:cubicBezTo>
                  <a:cubicBezTo>
                    <a:pt x="1240" y="5310"/>
                    <a:pt x="1262" y="5235"/>
                    <a:pt x="1299" y="5243"/>
                  </a:cubicBezTo>
                  <a:cubicBezTo>
                    <a:pt x="1307" y="5213"/>
                    <a:pt x="1307" y="5176"/>
                    <a:pt x="1307" y="5146"/>
                  </a:cubicBezTo>
                  <a:cubicBezTo>
                    <a:pt x="1299" y="5146"/>
                    <a:pt x="1299" y="5146"/>
                    <a:pt x="1299" y="5146"/>
                  </a:cubicBezTo>
                  <a:cubicBezTo>
                    <a:pt x="1292" y="5132"/>
                    <a:pt x="1299" y="5109"/>
                    <a:pt x="1299" y="5094"/>
                  </a:cubicBezTo>
                  <a:cubicBezTo>
                    <a:pt x="1373" y="5064"/>
                    <a:pt x="1477" y="5042"/>
                    <a:pt x="1559" y="5057"/>
                  </a:cubicBezTo>
                  <a:cubicBezTo>
                    <a:pt x="1596" y="5072"/>
                    <a:pt x="1604" y="5117"/>
                    <a:pt x="1641" y="5124"/>
                  </a:cubicBezTo>
                  <a:cubicBezTo>
                    <a:pt x="1670" y="5124"/>
                    <a:pt x="1715" y="5124"/>
                    <a:pt x="1715" y="5087"/>
                  </a:cubicBezTo>
                  <a:cubicBezTo>
                    <a:pt x="1722" y="5087"/>
                    <a:pt x="1730" y="5079"/>
                    <a:pt x="1745" y="5087"/>
                  </a:cubicBezTo>
                  <a:cubicBezTo>
                    <a:pt x="1752" y="4990"/>
                    <a:pt x="1789" y="5102"/>
                    <a:pt x="1812" y="5057"/>
                  </a:cubicBezTo>
                  <a:cubicBezTo>
                    <a:pt x="1826" y="5020"/>
                    <a:pt x="1834" y="5013"/>
                    <a:pt x="1864" y="5005"/>
                  </a:cubicBezTo>
                  <a:cubicBezTo>
                    <a:pt x="1901" y="4990"/>
                    <a:pt x="1864" y="4946"/>
                    <a:pt x="1901" y="4924"/>
                  </a:cubicBezTo>
                  <a:cubicBezTo>
                    <a:pt x="1834" y="4901"/>
                    <a:pt x="1893" y="4886"/>
                    <a:pt x="1938" y="4886"/>
                  </a:cubicBezTo>
                  <a:cubicBezTo>
                    <a:pt x="1990" y="4894"/>
                    <a:pt x="1997" y="4909"/>
                    <a:pt x="1997" y="4961"/>
                  </a:cubicBezTo>
                  <a:cubicBezTo>
                    <a:pt x="2012" y="4961"/>
                    <a:pt x="2019" y="4953"/>
                    <a:pt x="2027" y="4953"/>
                  </a:cubicBezTo>
                  <a:cubicBezTo>
                    <a:pt x="2034" y="4879"/>
                    <a:pt x="2101" y="4946"/>
                    <a:pt x="2094" y="4990"/>
                  </a:cubicBezTo>
                  <a:cubicBezTo>
                    <a:pt x="2109" y="4998"/>
                    <a:pt x="2131" y="4990"/>
                    <a:pt x="2153" y="4990"/>
                  </a:cubicBezTo>
                  <a:cubicBezTo>
                    <a:pt x="2153" y="4916"/>
                    <a:pt x="2198" y="4938"/>
                    <a:pt x="2257" y="4931"/>
                  </a:cubicBezTo>
                  <a:cubicBezTo>
                    <a:pt x="2264" y="4909"/>
                    <a:pt x="2235" y="4901"/>
                    <a:pt x="2242" y="4879"/>
                  </a:cubicBezTo>
                  <a:cubicBezTo>
                    <a:pt x="2287" y="4857"/>
                    <a:pt x="2272" y="4790"/>
                    <a:pt x="2331" y="4797"/>
                  </a:cubicBezTo>
                  <a:cubicBezTo>
                    <a:pt x="2331" y="4775"/>
                    <a:pt x="2331" y="4753"/>
                    <a:pt x="2339" y="4730"/>
                  </a:cubicBezTo>
                  <a:cubicBezTo>
                    <a:pt x="2354" y="4723"/>
                    <a:pt x="2369" y="4730"/>
                    <a:pt x="2369" y="4738"/>
                  </a:cubicBezTo>
                  <a:cubicBezTo>
                    <a:pt x="2376" y="4738"/>
                    <a:pt x="2383" y="4738"/>
                    <a:pt x="2383" y="4745"/>
                  </a:cubicBezTo>
                  <a:cubicBezTo>
                    <a:pt x="2383" y="4753"/>
                    <a:pt x="2391" y="4767"/>
                    <a:pt x="2391" y="4775"/>
                  </a:cubicBezTo>
                  <a:cubicBezTo>
                    <a:pt x="2413" y="4782"/>
                    <a:pt x="2428" y="4767"/>
                    <a:pt x="2435" y="4745"/>
                  </a:cubicBezTo>
                  <a:cubicBezTo>
                    <a:pt x="2465" y="4753"/>
                    <a:pt x="2502" y="4767"/>
                    <a:pt x="2547" y="4782"/>
                  </a:cubicBezTo>
                  <a:cubicBezTo>
                    <a:pt x="2547" y="4775"/>
                    <a:pt x="2539" y="4767"/>
                    <a:pt x="2539" y="4760"/>
                  </a:cubicBezTo>
                  <a:cubicBezTo>
                    <a:pt x="2539" y="4738"/>
                    <a:pt x="2532" y="4730"/>
                    <a:pt x="2502" y="4730"/>
                  </a:cubicBezTo>
                  <a:cubicBezTo>
                    <a:pt x="2495" y="4701"/>
                    <a:pt x="2472" y="4686"/>
                    <a:pt x="2465" y="4664"/>
                  </a:cubicBezTo>
                  <a:cubicBezTo>
                    <a:pt x="2517" y="4664"/>
                    <a:pt x="2458" y="4582"/>
                    <a:pt x="2458" y="4574"/>
                  </a:cubicBezTo>
                  <a:cubicBezTo>
                    <a:pt x="2450" y="4537"/>
                    <a:pt x="2458" y="4493"/>
                    <a:pt x="2458" y="4456"/>
                  </a:cubicBezTo>
                  <a:cubicBezTo>
                    <a:pt x="2465" y="4456"/>
                    <a:pt x="2472" y="4456"/>
                    <a:pt x="2480" y="4456"/>
                  </a:cubicBezTo>
                  <a:cubicBezTo>
                    <a:pt x="2480" y="4522"/>
                    <a:pt x="2524" y="4574"/>
                    <a:pt x="2532" y="4634"/>
                  </a:cubicBezTo>
                  <a:cubicBezTo>
                    <a:pt x="2532" y="4656"/>
                    <a:pt x="2547" y="4664"/>
                    <a:pt x="2547" y="4686"/>
                  </a:cubicBezTo>
                  <a:cubicBezTo>
                    <a:pt x="2554" y="4693"/>
                    <a:pt x="2547" y="4716"/>
                    <a:pt x="2554" y="4723"/>
                  </a:cubicBezTo>
                  <a:cubicBezTo>
                    <a:pt x="2554" y="4738"/>
                    <a:pt x="2569" y="4760"/>
                    <a:pt x="2591" y="4753"/>
                  </a:cubicBezTo>
                  <a:cubicBezTo>
                    <a:pt x="2606" y="4738"/>
                    <a:pt x="2576" y="4723"/>
                    <a:pt x="2576" y="4723"/>
                  </a:cubicBezTo>
                  <a:cubicBezTo>
                    <a:pt x="2569" y="4693"/>
                    <a:pt x="2584" y="4664"/>
                    <a:pt x="2576" y="4634"/>
                  </a:cubicBezTo>
                  <a:cubicBezTo>
                    <a:pt x="2569" y="4589"/>
                    <a:pt x="2561" y="4537"/>
                    <a:pt x="2554" y="4485"/>
                  </a:cubicBezTo>
                  <a:cubicBezTo>
                    <a:pt x="2547" y="4448"/>
                    <a:pt x="2554" y="4411"/>
                    <a:pt x="2547" y="4374"/>
                  </a:cubicBezTo>
                  <a:cubicBezTo>
                    <a:pt x="2539" y="4337"/>
                    <a:pt x="2532" y="4300"/>
                    <a:pt x="2524" y="4262"/>
                  </a:cubicBezTo>
                  <a:cubicBezTo>
                    <a:pt x="2524" y="4225"/>
                    <a:pt x="2509" y="4196"/>
                    <a:pt x="2509" y="4166"/>
                  </a:cubicBezTo>
                  <a:cubicBezTo>
                    <a:pt x="2487" y="4159"/>
                    <a:pt x="2472" y="4166"/>
                    <a:pt x="2472" y="4181"/>
                  </a:cubicBezTo>
                  <a:cubicBezTo>
                    <a:pt x="2458" y="4144"/>
                    <a:pt x="2487" y="4151"/>
                    <a:pt x="2509" y="4151"/>
                  </a:cubicBezTo>
                  <a:cubicBezTo>
                    <a:pt x="2517" y="4122"/>
                    <a:pt x="2517" y="4122"/>
                    <a:pt x="2524" y="4099"/>
                  </a:cubicBezTo>
                  <a:cubicBezTo>
                    <a:pt x="2539" y="4084"/>
                    <a:pt x="2554" y="4077"/>
                    <a:pt x="2561" y="4055"/>
                  </a:cubicBezTo>
                  <a:cubicBezTo>
                    <a:pt x="2569" y="4017"/>
                    <a:pt x="2569" y="3973"/>
                    <a:pt x="2569" y="3936"/>
                  </a:cubicBezTo>
                  <a:cubicBezTo>
                    <a:pt x="2569" y="3921"/>
                    <a:pt x="2569" y="3899"/>
                    <a:pt x="2569" y="3884"/>
                  </a:cubicBezTo>
                  <a:cubicBezTo>
                    <a:pt x="2561" y="3839"/>
                    <a:pt x="2539" y="3795"/>
                    <a:pt x="2524" y="3758"/>
                  </a:cubicBezTo>
                  <a:cubicBezTo>
                    <a:pt x="2517" y="3706"/>
                    <a:pt x="2502" y="3646"/>
                    <a:pt x="2495" y="3594"/>
                  </a:cubicBezTo>
                  <a:cubicBezTo>
                    <a:pt x="2487" y="3542"/>
                    <a:pt x="2495" y="3483"/>
                    <a:pt x="2517" y="3438"/>
                  </a:cubicBezTo>
                  <a:cubicBezTo>
                    <a:pt x="2524" y="3423"/>
                    <a:pt x="2532" y="3409"/>
                    <a:pt x="2539" y="3394"/>
                  </a:cubicBezTo>
                  <a:cubicBezTo>
                    <a:pt x="2554" y="3342"/>
                    <a:pt x="2569" y="3260"/>
                    <a:pt x="2614" y="3223"/>
                  </a:cubicBezTo>
                  <a:cubicBezTo>
                    <a:pt x="2658" y="3193"/>
                    <a:pt x="2658" y="3141"/>
                    <a:pt x="2688" y="3097"/>
                  </a:cubicBezTo>
                  <a:cubicBezTo>
                    <a:pt x="2703" y="3074"/>
                    <a:pt x="2725" y="3037"/>
                    <a:pt x="2755" y="3030"/>
                  </a:cubicBezTo>
                  <a:cubicBezTo>
                    <a:pt x="2777" y="3023"/>
                    <a:pt x="2792" y="3030"/>
                    <a:pt x="2814" y="3030"/>
                  </a:cubicBezTo>
                  <a:cubicBezTo>
                    <a:pt x="2836" y="3023"/>
                    <a:pt x="2844" y="3008"/>
                    <a:pt x="2866" y="3000"/>
                  </a:cubicBezTo>
                  <a:cubicBezTo>
                    <a:pt x="2866" y="2993"/>
                    <a:pt x="2866" y="2993"/>
                    <a:pt x="2866" y="2985"/>
                  </a:cubicBezTo>
                  <a:cubicBezTo>
                    <a:pt x="2903" y="2963"/>
                    <a:pt x="2962" y="2970"/>
                    <a:pt x="3007" y="2970"/>
                  </a:cubicBezTo>
                  <a:cubicBezTo>
                    <a:pt x="3007" y="3000"/>
                    <a:pt x="3022" y="3023"/>
                    <a:pt x="3022" y="3045"/>
                  </a:cubicBezTo>
                  <a:cubicBezTo>
                    <a:pt x="3022" y="3067"/>
                    <a:pt x="3007" y="3112"/>
                    <a:pt x="3044" y="3104"/>
                  </a:cubicBezTo>
                  <a:cubicBezTo>
                    <a:pt x="3044" y="3082"/>
                    <a:pt x="3044" y="3060"/>
                    <a:pt x="3066" y="3052"/>
                  </a:cubicBezTo>
                  <a:cubicBezTo>
                    <a:pt x="3066" y="3074"/>
                    <a:pt x="3059" y="3089"/>
                    <a:pt x="3059" y="3104"/>
                  </a:cubicBezTo>
                  <a:cubicBezTo>
                    <a:pt x="3096" y="3112"/>
                    <a:pt x="3096" y="3045"/>
                    <a:pt x="3096" y="3023"/>
                  </a:cubicBezTo>
                  <a:cubicBezTo>
                    <a:pt x="3111" y="3037"/>
                    <a:pt x="3096" y="3074"/>
                    <a:pt x="3133" y="3067"/>
                  </a:cubicBezTo>
                  <a:cubicBezTo>
                    <a:pt x="3133" y="3074"/>
                    <a:pt x="3133" y="3082"/>
                    <a:pt x="3133" y="3082"/>
                  </a:cubicBezTo>
                  <a:cubicBezTo>
                    <a:pt x="3141" y="3082"/>
                    <a:pt x="3148" y="3082"/>
                    <a:pt x="3148" y="3082"/>
                  </a:cubicBezTo>
                  <a:cubicBezTo>
                    <a:pt x="3148" y="3074"/>
                    <a:pt x="3156" y="3060"/>
                    <a:pt x="3148" y="3052"/>
                  </a:cubicBezTo>
                  <a:cubicBezTo>
                    <a:pt x="3156" y="3067"/>
                    <a:pt x="3171" y="3067"/>
                    <a:pt x="3185" y="3067"/>
                  </a:cubicBezTo>
                  <a:cubicBezTo>
                    <a:pt x="3156" y="3060"/>
                    <a:pt x="3163" y="3015"/>
                    <a:pt x="3185" y="3000"/>
                  </a:cubicBezTo>
                  <a:cubicBezTo>
                    <a:pt x="3222" y="2963"/>
                    <a:pt x="3260" y="2956"/>
                    <a:pt x="3282" y="2911"/>
                  </a:cubicBezTo>
                  <a:cubicBezTo>
                    <a:pt x="3289" y="2889"/>
                    <a:pt x="3282" y="2866"/>
                    <a:pt x="3297" y="2852"/>
                  </a:cubicBezTo>
                  <a:cubicBezTo>
                    <a:pt x="3304" y="2837"/>
                    <a:pt x="3326" y="2822"/>
                    <a:pt x="3341" y="2807"/>
                  </a:cubicBezTo>
                  <a:cubicBezTo>
                    <a:pt x="3356" y="2785"/>
                    <a:pt x="3356" y="2785"/>
                    <a:pt x="3363" y="2755"/>
                  </a:cubicBezTo>
                  <a:cubicBezTo>
                    <a:pt x="3363" y="2703"/>
                    <a:pt x="3386" y="2696"/>
                    <a:pt x="3430" y="2688"/>
                  </a:cubicBezTo>
                  <a:cubicBezTo>
                    <a:pt x="3460" y="2688"/>
                    <a:pt x="3497" y="2681"/>
                    <a:pt x="3527" y="2673"/>
                  </a:cubicBezTo>
                  <a:cubicBezTo>
                    <a:pt x="3527" y="2644"/>
                    <a:pt x="3482" y="2644"/>
                    <a:pt x="3460" y="2644"/>
                  </a:cubicBezTo>
                  <a:cubicBezTo>
                    <a:pt x="3430" y="2658"/>
                    <a:pt x="3430" y="2673"/>
                    <a:pt x="3386" y="2673"/>
                  </a:cubicBezTo>
                  <a:cubicBezTo>
                    <a:pt x="3401" y="2636"/>
                    <a:pt x="3490" y="2644"/>
                    <a:pt x="3519" y="2644"/>
                  </a:cubicBezTo>
                  <a:cubicBezTo>
                    <a:pt x="3542" y="2644"/>
                    <a:pt x="3571" y="2644"/>
                    <a:pt x="3594" y="2651"/>
                  </a:cubicBezTo>
                  <a:cubicBezTo>
                    <a:pt x="3623" y="2658"/>
                    <a:pt x="3638" y="2681"/>
                    <a:pt x="3668" y="2688"/>
                  </a:cubicBezTo>
                  <a:cubicBezTo>
                    <a:pt x="3668" y="2688"/>
                    <a:pt x="3668" y="2696"/>
                    <a:pt x="3676" y="2703"/>
                  </a:cubicBezTo>
                  <a:cubicBezTo>
                    <a:pt x="3676" y="2681"/>
                    <a:pt x="3676" y="2666"/>
                    <a:pt x="3676" y="2644"/>
                  </a:cubicBezTo>
                  <a:cubicBezTo>
                    <a:pt x="3698" y="2651"/>
                    <a:pt x="3690" y="2688"/>
                    <a:pt x="3690" y="2703"/>
                  </a:cubicBezTo>
                  <a:cubicBezTo>
                    <a:pt x="3735" y="2718"/>
                    <a:pt x="3779" y="2696"/>
                    <a:pt x="3816" y="2681"/>
                  </a:cubicBezTo>
                  <a:cubicBezTo>
                    <a:pt x="3861" y="2658"/>
                    <a:pt x="3883" y="2636"/>
                    <a:pt x="3921" y="2614"/>
                  </a:cubicBezTo>
                  <a:cubicBezTo>
                    <a:pt x="3958" y="2599"/>
                    <a:pt x="4002" y="2592"/>
                    <a:pt x="4039" y="2569"/>
                  </a:cubicBezTo>
                  <a:cubicBezTo>
                    <a:pt x="4054" y="2562"/>
                    <a:pt x="4062" y="2555"/>
                    <a:pt x="4069" y="2540"/>
                  </a:cubicBezTo>
                  <a:cubicBezTo>
                    <a:pt x="4076" y="2518"/>
                    <a:pt x="4069" y="2495"/>
                    <a:pt x="4091" y="2480"/>
                  </a:cubicBezTo>
                  <a:cubicBezTo>
                    <a:pt x="4091" y="2495"/>
                    <a:pt x="4084" y="2518"/>
                    <a:pt x="4091" y="2532"/>
                  </a:cubicBezTo>
                  <a:cubicBezTo>
                    <a:pt x="4091" y="2532"/>
                    <a:pt x="4099" y="2532"/>
                    <a:pt x="4106" y="2532"/>
                  </a:cubicBezTo>
                  <a:cubicBezTo>
                    <a:pt x="4113" y="2532"/>
                    <a:pt x="4106" y="2451"/>
                    <a:pt x="4106" y="2443"/>
                  </a:cubicBezTo>
                  <a:cubicBezTo>
                    <a:pt x="4113" y="2421"/>
                    <a:pt x="4121" y="2384"/>
                    <a:pt x="4128" y="2361"/>
                  </a:cubicBezTo>
                  <a:cubicBezTo>
                    <a:pt x="4143" y="2339"/>
                    <a:pt x="4158" y="2324"/>
                    <a:pt x="4158" y="2295"/>
                  </a:cubicBezTo>
                  <a:cubicBezTo>
                    <a:pt x="4151" y="2272"/>
                    <a:pt x="4128" y="2243"/>
                    <a:pt x="4106" y="2243"/>
                  </a:cubicBezTo>
                  <a:cubicBezTo>
                    <a:pt x="4106" y="2250"/>
                    <a:pt x="4106" y="2258"/>
                    <a:pt x="4106" y="2265"/>
                  </a:cubicBezTo>
                  <a:cubicBezTo>
                    <a:pt x="4113" y="2272"/>
                    <a:pt x="4113" y="2272"/>
                    <a:pt x="4121" y="2272"/>
                  </a:cubicBezTo>
                  <a:cubicBezTo>
                    <a:pt x="4121" y="2302"/>
                    <a:pt x="4121" y="2339"/>
                    <a:pt x="4106" y="2369"/>
                  </a:cubicBezTo>
                  <a:cubicBezTo>
                    <a:pt x="4039" y="2384"/>
                    <a:pt x="4106" y="2206"/>
                    <a:pt x="4121" y="2191"/>
                  </a:cubicBezTo>
                  <a:cubicBezTo>
                    <a:pt x="4136" y="2161"/>
                    <a:pt x="4173" y="2154"/>
                    <a:pt x="4203" y="2139"/>
                  </a:cubicBezTo>
                  <a:cubicBezTo>
                    <a:pt x="4240" y="2116"/>
                    <a:pt x="4270" y="2087"/>
                    <a:pt x="4307" y="2064"/>
                  </a:cubicBezTo>
                  <a:cubicBezTo>
                    <a:pt x="4335" y="2042"/>
                    <a:pt x="4358" y="2035"/>
                    <a:pt x="4380" y="2005"/>
                  </a:cubicBezTo>
                  <a:cubicBezTo>
                    <a:pt x="4410" y="1961"/>
                    <a:pt x="4439" y="1953"/>
                    <a:pt x="4491" y="1931"/>
                  </a:cubicBezTo>
                  <a:cubicBezTo>
                    <a:pt x="4528" y="1909"/>
                    <a:pt x="4573" y="1886"/>
                    <a:pt x="4617" y="1879"/>
                  </a:cubicBezTo>
                  <a:cubicBezTo>
                    <a:pt x="4647" y="1871"/>
                    <a:pt x="4677" y="1864"/>
                    <a:pt x="4707" y="1849"/>
                  </a:cubicBezTo>
                  <a:cubicBezTo>
                    <a:pt x="4729" y="1834"/>
                    <a:pt x="4736" y="1812"/>
                    <a:pt x="4751" y="1797"/>
                  </a:cubicBezTo>
                  <a:cubicBezTo>
                    <a:pt x="4774" y="1775"/>
                    <a:pt x="4796" y="1775"/>
                    <a:pt x="4811" y="1753"/>
                  </a:cubicBezTo>
                  <a:cubicBezTo>
                    <a:pt x="4818" y="1738"/>
                    <a:pt x="4818" y="1708"/>
                    <a:pt x="4833" y="1686"/>
                  </a:cubicBezTo>
                  <a:cubicBezTo>
                    <a:pt x="4863" y="1649"/>
                    <a:pt x="4900" y="1611"/>
                    <a:pt x="4937" y="1582"/>
                  </a:cubicBezTo>
                  <a:cubicBezTo>
                    <a:pt x="4989" y="1530"/>
                    <a:pt x="5056" y="1508"/>
                    <a:pt x="5122" y="1463"/>
                  </a:cubicBezTo>
                  <a:cubicBezTo>
                    <a:pt x="5145" y="1448"/>
                    <a:pt x="5152" y="1433"/>
                    <a:pt x="5167" y="1426"/>
                  </a:cubicBezTo>
                  <a:cubicBezTo>
                    <a:pt x="5182" y="1411"/>
                    <a:pt x="5204" y="1411"/>
                    <a:pt x="5219" y="1404"/>
                  </a:cubicBezTo>
                  <a:cubicBezTo>
                    <a:pt x="5256" y="1381"/>
                    <a:pt x="5293" y="1374"/>
                    <a:pt x="5323" y="1351"/>
                  </a:cubicBezTo>
                  <a:cubicBezTo>
                    <a:pt x="5338" y="1337"/>
                    <a:pt x="5353" y="1300"/>
                    <a:pt x="5382" y="1292"/>
                  </a:cubicBezTo>
                  <a:cubicBezTo>
                    <a:pt x="5412" y="1285"/>
                    <a:pt x="5397" y="1233"/>
                    <a:pt x="5405" y="1211"/>
                  </a:cubicBezTo>
                  <a:cubicBezTo>
                    <a:pt x="5419" y="1196"/>
                    <a:pt x="5442" y="1188"/>
                    <a:pt x="5457" y="1181"/>
                  </a:cubicBezTo>
                  <a:cubicBezTo>
                    <a:pt x="5486" y="1166"/>
                    <a:pt x="5524" y="1121"/>
                    <a:pt x="5553" y="1121"/>
                  </a:cubicBezTo>
                  <a:cubicBezTo>
                    <a:pt x="5553" y="1106"/>
                    <a:pt x="5568" y="1099"/>
                    <a:pt x="5576" y="1092"/>
                  </a:cubicBezTo>
                  <a:cubicBezTo>
                    <a:pt x="5598" y="1069"/>
                    <a:pt x="5605" y="1040"/>
                    <a:pt x="5627" y="1010"/>
                  </a:cubicBezTo>
                  <a:cubicBezTo>
                    <a:pt x="5642" y="995"/>
                    <a:pt x="5665" y="988"/>
                    <a:pt x="5672" y="973"/>
                  </a:cubicBezTo>
                  <a:cubicBezTo>
                    <a:pt x="5679" y="958"/>
                    <a:pt x="5687" y="943"/>
                    <a:pt x="5694" y="928"/>
                  </a:cubicBezTo>
                  <a:cubicBezTo>
                    <a:pt x="5709" y="899"/>
                    <a:pt x="5739" y="876"/>
                    <a:pt x="5761" y="861"/>
                  </a:cubicBezTo>
                  <a:cubicBezTo>
                    <a:pt x="5784" y="839"/>
                    <a:pt x="5813" y="817"/>
                    <a:pt x="5828" y="795"/>
                  </a:cubicBezTo>
                  <a:cubicBezTo>
                    <a:pt x="5835" y="787"/>
                    <a:pt x="5843" y="772"/>
                    <a:pt x="5843" y="765"/>
                  </a:cubicBezTo>
                  <a:cubicBezTo>
                    <a:pt x="5813" y="750"/>
                    <a:pt x="5791" y="735"/>
                    <a:pt x="5791" y="713"/>
                  </a:cubicBezTo>
                </a:path>
              </a:pathLst>
            </a:custGeom>
            <a:grpFill/>
            <a:ln w="6350" cap="flat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lIns="60927" tIns="30463" rIns="60927" bIns="30463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34" name="Freeform 26"/>
            <p:cNvSpPr>
              <a:spLocks noChangeArrowheads="1"/>
            </p:cNvSpPr>
            <p:nvPr/>
          </p:nvSpPr>
          <p:spPr bwMode="auto">
            <a:xfrm>
              <a:off x="13244896" y="6154717"/>
              <a:ext cx="1140006" cy="1796508"/>
            </a:xfrm>
            <a:custGeom>
              <a:avLst/>
              <a:gdLst>
                <a:gd name="T0" fmla="*/ 2606 w 2637"/>
                <a:gd name="T1" fmla="*/ 595 h 4159"/>
                <a:gd name="T2" fmla="*/ 2636 w 2637"/>
                <a:gd name="T3" fmla="*/ 320 h 4159"/>
                <a:gd name="T4" fmla="*/ 2406 w 2637"/>
                <a:gd name="T5" fmla="*/ 297 h 4159"/>
                <a:gd name="T6" fmla="*/ 2087 w 2637"/>
                <a:gd name="T7" fmla="*/ 238 h 4159"/>
                <a:gd name="T8" fmla="*/ 1923 w 2637"/>
                <a:gd name="T9" fmla="*/ 75 h 4159"/>
                <a:gd name="T10" fmla="*/ 1760 w 2637"/>
                <a:gd name="T11" fmla="*/ 45 h 4159"/>
                <a:gd name="T12" fmla="*/ 1485 w 2637"/>
                <a:gd name="T13" fmla="*/ 82 h 4159"/>
                <a:gd name="T14" fmla="*/ 1381 w 2637"/>
                <a:gd name="T15" fmla="*/ 90 h 4159"/>
                <a:gd name="T16" fmla="*/ 1492 w 2637"/>
                <a:gd name="T17" fmla="*/ 275 h 4159"/>
                <a:gd name="T18" fmla="*/ 1477 w 2637"/>
                <a:gd name="T19" fmla="*/ 461 h 4159"/>
                <a:gd name="T20" fmla="*/ 1455 w 2637"/>
                <a:gd name="T21" fmla="*/ 750 h 4159"/>
                <a:gd name="T22" fmla="*/ 1270 w 2637"/>
                <a:gd name="T23" fmla="*/ 892 h 4159"/>
                <a:gd name="T24" fmla="*/ 1344 w 2637"/>
                <a:gd name="T25" fmla="*/ 1263 h 4159"/>
                <a:gd name="T26" fmla="*/ 1247 w 2637"/>
                <a:gd name="T27" fmla="*/ 1545 h 4159"/>
                <a:gd name="T28" fmla="*/ 1307 w 2637"/>
                <a:gd name="T29" fmla="*/ 1619 h 4159"/>
                <a:gd name="T30" fmla="*/ 1336 w 2637"/>
                <a:gd name="T31" fmla="*/ 1983 h 4159"/>
                <a:gd name="T32" fmla="*/ 1173 w 2637"/>
                <a:gd name="T33" fmla="*/ 2251 h 4159"/>
                <a:gd name="T34" fmla="*/ 1077 w 2637"/>
                <a:gd name="T35" fmla="*/ 2377 h 4159"/>
                <a:gd name="T36" fmla="*/ 958 w 2637"/>
                <a:gd name="T37" fmla="*/ 2429 h 4159"/>
                <a:gd name="T38" fmla="*/ 883 w 2637"/>
                <a:gd name="T39" fmla="*/ 2548 h 4159"/>
                <a:gd name="T40" fmla="*/ 512 w 2637"/>
                <a:gd name="T41" fmla="*/ 2659 h 4159"/>
                <a:gd name="T42" fmla="*/ 223 w 2637"/>
                <a:gd name="T43" fmla="*/ 2741 h 4159"/>
                <a:gd name="T44" fmla="*/ 22 w 2637"/>
                <a:gd name="T45" fmla="*/ 2919 h 4159"/>
                <a:gd name="T46" fmla="*/ 170 w 2637"/>
                <a:gd name="T47" fmla="*/ 3082 h 4159"/>
                <a:gd name="T48" fmla="*/ 378 w 2637"/>
                <a:gd name="T49" fmla="*/ 3164 h 4159"/>
                <a:gd name="T50" fmla="*/ 549 w 2637"/>
                <a:gd name="T51" fmla="*/ 3393 h 4159"/>
                <a:gd name="T52" fmla="*/ 623 w 2637"/>
                <a:gd name="T53" fmla="*/ 3557 h 4159"/>
                <a:gd name="T54" fmla="*/ 616 w 2637"/>
                <a:gd name="T55" fmla="*/ 3720 h 4159"/>
                <a:gd name="T56" fmla="*/ 869 w 2637"/>
                <a:gd name="T57" fmla="*/ 3957 h 4159"/>
                <a:gd name="T58" fmla="*/ 1166 w 2637"/>
                <a:gd name="T59" fmla="*/ 4158 h 4159"/>
                <a:gd name="T60" fmla="*/ 1374 w 2637"/>
                <a:gd name="T61" fmla="*/ 3980 h 4159"/>
                <a:gd name="T62" fmla="*/ 1507 w 2637"/>
                <a:gd name="T63" fmla="*/ 3854 h 4159"/>
                <a:gd name="T64" fmla="*/ 1611 w 2637"/>
                <a:gd name="T65" fmla="*/ 3712 h 4159"/>
                <a:gd name="T66" fmla="*/ 1633 w 2637"/>
                <a:gd name="T67" fmla="*/ 3891 h 4159"/>
                <a:gd name="T68" fmla="*/ 1737 w 2637"/>
                <a:gd name="T69" fmla="*/ 3883 h 4159"/>
                <a:gd name="T70" fmla="*/ 1864 w 2637"/>
                <a:gd name="T71" fmla="*/ 3794 h 4159"/>
                <a:gd name="T72" fmla="*/ 2072 w 2637"/>
                <a:gd name="T73" fmla="*/ 3616 h 4159"/>
                <a:gd name="T74" fmla="*/ 2138 w 2637"/>
                <a:gd name="T75" fmla="*/ 3482 h 4159"/>
                <a:gd name="T76" fmla="*/ 2094 w 2637"/>
                <a:gd name="T77" fmla="*/ 3142 h 4159"/>
                <a:gd name="T78" fmla="*/ 2124 w 2637"/>
                <a:gd name="T79" fmla="*/ 2911 h 4159"/>
                <a:gd name="T80" fmla="*/ 1945 w 2637"/>
                <a:gd name="T81" fmla="*/ 2748 h 4159"/>
                <a:gd name="T82" fmla="*/ 1856 w 2637"/>
                <a:gd name="T83" fmla="*/ 2622 h 4159"/>
                <a:gd name="T84" fmla="*/ 1886 w 2637"/>
                <a:gd name="T85" fmla="*/ 2429 h 4159"/>
                <a:gd name="T86" fmla="*/ 1804 w 2637"/>
                <a:gd name="T87" fmla="*/ 2102 h 4159"/>
                <a:gd name="T88" fmla="*/ 1515 w 2637"/>
                <a:gd name="T89" fmla="*/ 1954 h 4159"/>
                <a:gd name="T90" fmla="*/ 1477 w 2637"/>
                <a:gd name="T91" fmla="*/ 1790 h 4159"/>
                <a:gd name="T92" fmla="*/ 1619 w 2637"/>
                <a:gd name="T93" fmla="*/ 1694 h 4159"/>
                <a:gd name="T94" fmla="*/ 1737 w 2637"/>
                <a:gd name="T95" fmla="*/ 1590 h 4159"/>
                <a:gd name="T96" fmla="*/ 2034 w 2637"/>
                <a:gd name="T97" fmla="*/ 1456 h 4159"/>
                <a:gd name="T98" fmla="*/ 1945 w 2637"/>
                <a:gd name="T99" fmla="*/ 1270 h 4159"/>
                <a:gd name="T100" fmla="*/ 1693 w 2637"/>
                <a:gd name="T101" fmla="*/ 1166 h 4159"/>
                <a:gd name="T102" fmla="*/ 1552 w 2637"/>
                <a:gd name="T103" fmla="*/ 1040 h 4159"/>
                <a:gd name="T104" fmla="*/ 1529 w 2637"/>
                <a:gd name="T105" fmla="*/ 773 h 4159"/>
                <a:gd name="T106" fmla="*/ 1708 w 2637"/>
                <a:gd name="T107" fmla="*/ 572 h 4159"/>
                <a:gd name="T108" fmla="*/ 1641 w 2637"/>
                <a:gd name="T109" fmla="*/ 453 h 4159"/>
                <a:gd name="T110" fmla="*/ 1812 w 2637"/>
                <a:gd name="T111" fmla="*/ 557 h 4159"/>
                <a:gd name="T112" fmla="*/ 1834 w 2637"/>
                <a:gd name="T113" fmla="*/ 721 h 4159"/>
                <a:gd name="T114" fmla="*/ 1930 w 2637"/>
                <a:gd name="T115" fmla="*/ 676 h 4159"/>
                <a:gd name="T116" fmla="*/ 2027 w 2637"/>
                <a:gd name="T117" fmla="*/ 699 h 4159"/>
                <a:gd name="T118" fmla="*/ 2064 w 2637"/>
                <a:gd name="T119" fmla="*/ 550 h 4159"/>
                <a:gd name="T120" fmla="*/ 2190 w 2637"/>
                <a:gd name="T121" fmla="*/ 788 h 4159"/>
                <a:gd name="T122" fmla="*/ 2450 w 2637"/>
                <a:gd name="T123" fmla="*/ 788 h 4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37" h="4159">
                  <a:moveTo>
                    <a:pt x="2524" y="684"/>
                  </a:moveTo>
                  <a:lnTo>
                    <a:pt x="2524" y="684"/>
                  </a:lnTo>
                  <a:cubicBezTo>
                    <a:pt x="2539" y="669"/>
                    <a:pt x="2547" y="661"/>
                    <a:pt x="2562" y="647"/>
                  </a:cubicBezTo>
                  <a:cubicBezTo>
                    <a:pt x="2577" y="624"/>
                    <a:pt x="2591" y="617"/>
                    <a:pt x="2606" y="595"/>
                  </a:cubicBezTo>
                  <a:cubicBezTo>
                    <a:pt x="2621" y="580"/>
                    <a:pt x="2629" y="565"/>
                    <a:pt x="2636" y="550"/>
                  </a:cubicBezTo>
                  <a:cubicBezTo>
                    <a:pt x="2614" y="550"/>
                    <a:pt x="2599" y="535"/>
                    <a:pt x="2599" y="520"/>
                  </a:cubicBezTo>
                  <a:cubicBezTo>
                    <a:pt x="2584" y="483"/>
                    <a:pt x="2599" y="424"/>
                    <a:pt x="2614" y="394"/>
                  </a:cubicBezTo>
                  <a:cubicBezTo>
                    <a:pt x="2621" y="364"/>
                    <a:pt x="2636" y="350"/>
                    <a:pt x="2636" y="320"/>
                  </a:cubicBezTo>
                  <a:cubicBezTo>
                    <a:pt x="2621" y="320"/>
                    <a:pt x="2614" y="327"/>
                    <a:pt x="2599" y="327"/>
                  </a:cubicBezTo>
                  <a:cubicBezTo>
                    <a:pt x="2562" y="335"/>
                    <a:pt x="2524" y="327"/>
                    <a:pt x="2480" y="327"/>
                  </a:cubicBezTo>
                  <a:cubicBezTo>
                    <a:pt x="2443" y="327"/>
                    <a:pt x="2413" y="335"/>
                    <a:pt x="2384" y="350"/>
                  </a:cubicBezTo>
                  <a:cubicBezTo>
                    <a:pt x="2376" y="327"/>
                    <a:pt x="2398" y="312"/>
                    <a:pt x="2406" y="297"/>
                  </a:cubicBezTo>
                  <a:cubicBezTo>
                    <a:pt x="2391" y="290"/>
                    <a:pt x="2361" y="290"/>
                    <a:pt x="2339" y="283"/>
                  </a:cubicBezTo>
                  <a:cubicBezTo>
                    <a:pt x="2324" y="275"/>
                    <a:pt x="2309" y="245"/>
                    <a:pt x="2287" y="238"/>
                  </a:cubicBezTo>
                  <a:cubicBezTo>
                    <a:pt x="2227" y="216"/>
                    <a:pt x="2205" y="275"/>
                    <a:pt x="2153" y="268"/>
                  </a:cubicBezTo>
                  <a:cubicBezTo>
                    <a:pt x="2124" y="268"/>
                    <a:pt x="2101" y="268"/>
                    <a:pt x="2087" y="238"/>
                  </a:cubicBezTo>
                  <a:cubicBezTo>
                    <a:pt x="2072" y="208"/>
                    <a:pt x="2087" y="201"/>
                    <a:pt x="2042" y="194"/>
                  </a:cubicBezTo>
                  <a:cubicBezTo>
                    <a:pt x="2012" y="194"/>
                    <a:pt x="2005" y="201"/>
                    <a:pt x="1982" y="179"/>
                  </a:cubicBezTo>
                  <a:cubicBezTo>
                    <a:pt x="1968" y="164"/>
                    <a:pt x="1953" y="149"/>
                    <a:pt x="1945" y="134"/>
                  </a:cubicBezTo>
                  <a:cubicBezTo>
                    <a:pt x="1930" y="119"/>
                    <a:pt x="1938" y="97"/>
                    <a:pt x="1923" y="75"/>
                  </a:cubicBezTo>
                  <a:cubicBezTo>
                    <a:pt x="1901" y="52"/>
                    <a:pt x="1901" y="52"/>
                    <a:pt x="1901" y="45"/>
                  </a:cubicBezTo>
                  <a:cubicBezTo>
                    <a:pt x="1871" y="45"/>
                    <a:pt x="1856" y="38"/>
                    <a:pt x="1849" y="38"/>
                  </a:cubicBezTo>
                  <a:cubicBezTo>
                    <a:pt x="1834" y="45"/>
                    <a:pt x="1827" y="52"/>
                    <a:pt x="1819" y="67"/>
                  </a:cubicBezTo>
                  <a:cubicBezTo>
                    <a:pt x="1797" y="15"/>
                    <a:pt x="1797" y="60"/>
                    <a:pt x="1760" y="45"/>
                  </a:cubicBezTo>
                  <a:cubicBezTo>
                    <a:pt x="1730" y="38"/>
                    <a:pt x="1715" y="0"/>
                    <a:pt x="1678" y="23"/>
                  </a:cubicBezTo>
                  <a:cubicBezTo>
                    <a:pt x="1678" y="38"/>
                    <a:pt x="1678" y="52"/>
                    <a:pt x="1678" y="67"/>
                  </a:cubicBezTo>
                  <a:cubicBezTo>
                    <a:pt x="1633" y="90"/>
                    <a:pt x="1611" y="127"/>
                    <a:pt x="1552" y="97"/>
                  </a:cubicBezTo>
                  <a:cubicBezTo>
                    <a:pt x="1529" y="82"/>
                    <a:pt x="1522" y="82"/>
                    <a:pt x="1485" y="82"/>
                  </a:cubicBezTo>
                  <a:cubicBezTo>
                    <a:pt x="1470" y="82"/>
                    <a:pt x="1425" y="82"/>
                    <a:pt x="1411" y="75"/>
                  </a:cubicBezTo>
                  <a:cubicBezTo>
                    <a:pt x="1411" y="75"/>
                    <a:pt x="1381" y="52"/>
                    <a:pt x="1388" y="60"/>
                  </a:cubicBezTo>
                  <a:cubicBezTo>
                    <a:pt x="1381" y="45"/>
                    <a:pt x="1374" y="38"/>
                    <a:pt x="1374" y="38"/>
                  </a:cubicBezTo>
                  <a:cubicBezTo>
                    <a:pt x="1374" y="60"/>
                    <a:pt x="1374" y="82"/>
                    <a:pt x="1381" y="90"/>
                  </a:cubicBezTo>
                  <a:cubicBezTo>
                    <a:pt x="1396" y="105"/>
                    <a:pt x="1418" y="82"/>
                    <a:pt x="1433" y="105"/>
                  </a:cubicBezTo>
                  <a:cubicBezTo>
                    <a:pt x="1448" y="119"/>
                    <a:pt x="1425" y="149"/>
                    <a:pt x="1455" y="142"/>
                  </a:cubicBezTo>
                  <a:cubicBezTo>
                    <a:pt x="1455" y="164"/>
                    <a:pt x="1455" y="194"/>
                    <a:pt x="1455" y="216"/>
                  </a:cubicBezTo>
                  <a:cubicBezTo>
                    <a:pt x="1463" y="245"/>
                    <a:pt x="1477" y="253"/>
                    <a:pt x="1492" y="275"/>
                  </a:cubicBezTo>
                  <a:cubicBezTo>
                    <a:pt x="1500" y="290"/>
                    <a:pt x="1529" y="335"/>
                    <a:pt x="1522" y="350"/>
                  </a:cubicBezTo>
                  <a:cubicBezTo>
                    <a:pt x="1522" y="357"/>
                    <a:pt x="1492" y="372"/>
                    <a:pt x="1485" y="379"/>
                  </a:cubicBezTo>
                  <a:cubicBezTo>
                    <a:pt x="1477" y="394"/>
                    <a:pt x="1477" y="416"/>
                    <a:pt x="1477" y="431"/>
                  </a:cubicBezTo>
                  <a:cubicBezTo>
                    <a:pt x="1477" y="446"/>
                    <a:pt x="1477" y="453"/>
                    <a:pt x="1477" y="461"/>
                  </a:cubicBezTo>
                  <a:lnTo>
                    <a:pt x="1477" y="461"/>
                  </a:lnTo>
                  <a:cubicBezTo>
                    <a:pt x="1515" y="476"/>
                    <a:pt x="1500" y="520"/>
                    <a:pt x="1500" y="550"/>
                  </a:cubicBezTo>
                  <a:cubicBezTo>
                    <a:pt x="1492" y="609"/>
                    <a:pt x="1552" y="669"/>
                    <a:pt x="1507" y="721"/>
                  </a:cubicBezTo>
                  <a:cubicBezTo>
                    <a:pt x="1492" y="736"/>
                    <a:pt x="1470" y="743"/>
                    <a:pt x="1455" y="750"/>
                  </a:cubicBezTo>
                  <a:cubicBezTo>
                    <a:pt x="1425" y="765"/>
                    <a:pt x="1425" y="788"/>
                    <a:pt x="1411" y="810"/>
                  </a:cubicBezTo>
                  <a:cubicBezTo>
                    <a:pt x="1403" y="825"/>
                    <a:pt x="1366" y="825"/>
                    <a:pt x="1359" y="840"/>
                  </a:cubicBezTo>
                  <a:cubicBezTo>
                    <a:pt x="1344" y="854"/>
                    <a:pt x="1336" y="877"/>
                    <a:pt x="1336" y="899"/>
                  </a:cubicBezTo>
                  <a:cubicBezTo>
                    <a:pt x="1314" y="899"/>
                    <a:pt x="1292" y="899"/>
                    <a:pt x="1270" y="892"/>
                  </a:cubicBezTo>
                  <a:cubicBezTo>
                    <a:pt x="1270" y="936"/>
                    <a:pt x="1225" y="988"/>
                    <a:pt x="1240" y="1033"/>
                  </a:cubicBezTo>
                  <a:cubicBezTo>
                    <a:pt x="1255" y="1062"/>
                    <a:pt x="1299" y="1062"/>
                    <a:pt x="1307" y="1099"/>
                  </a:cubicBezTo>
                  <a:cubicBezTo>
                    <a:pt x="1411" y="1107"/>
                    <a:pt x="1411" y="1211"/>
                    <a:pt x="1418" y="1293"/>
                  </a:cubicBezTo>
                  <a:cubicBezTo>
                    <a:pt x="1388" y="1300"/>
                    <a:pt x="1374" y="1263"/>
                    <a:pt x="1344" y="1263"/>
                  </a:cubicBezTo>
                  <a:cubicBezTo>
                    <a:pt x="1307" y="1270"/>
                    <a:pt x="1299" y="1307"/>
                    <a:pt x="1299" y="1337"/>
                  </a:cubicBezTo>
                  <a:cubicBezTo>
                    <a:pt x="1277" y="1337"/>
                    <a:pt x="1255" y="1337"/>
                    <a:pt x="1232" y="1337"/>
                  </a:cubicBezTo>
                  <a:cubicBezTo>
                    <a:pt x="1225" y="1367"/>
                    <a:pt x="1277" y="1471"/>
                    <a:pt x="1307" y="1486"/>
                  </a:cubicBezTo>
                  <a:cubicBezTo>
                    <a:pt x="1292" y="1508"/>
                    <a:pt x="1255" y="1523"/>
                    <a:pt x="1247" y="1545"/>
                  </a:cubicBezTo>
                  <a:cubicBezTo>
                    <a:pt x="1292" y="1560"/>
                    <a:pt x="1329" y="1567"/>
                    <a:pt x="1344" y="1575"/>
                  </a:cubicBezTo>
                  <a:cubicBezTo>
                    <a:pt x="1329" y="1567"/>
                    <a:pt x="1292" y="1560"/>
                    <a:pt x="1247" y="1545"/>
                  </a:cubicBezTo>
                  <a:cubicBezTo>
                    <a:pt x="1247" y="1552"/>
                    <a:pt x="1247" y="1552"/>
                    <a:pt x="1247" y="1552"/>
                  </a:cubicBezTo>
                  <a:cubicBezTo>
                    <a:pt x="1247" y="1575"/>
                    <a:pt x="1292" y="1604"/>
                    <a:pt x="1307" y="1619"/>
                  </a:cubicBezTo>
                  <a:cubicBezTo>
                    <a:pt x="1344" y="1679"/>
                    <a:pt x="1322" y="1753"/>
                    <a:pt x="1314" y="1812"/>
                  </a:cubicBezTo>
                  <a:cubicBezTo>
                    <a:pt x="1307" y="1820"/>
                    <a:pt x="1299" y="1827"/>
                    <a:pt x="1292" y="1827"/>
                  </a:cubicBezTo>
                  <a:cubicBezTo>
                    <a:pt x="1277" y="1864"/>
                    <a:pt x="1322" y="1864"/>
                    <a:pt x="1336" y="1887"/>
                  </a:cubicBezTo>
                  <a:cubicBezTo>
                    <a:pt x="1351" y="1916"/>
                    <a:pt x="1336" y="1954"/>
                    <a:pt x="1336" y="1983"/>
                  </a:cubicBezTo>
                  <a:cubicBezTo>
                    <a:pt x="1314" y="1983"/>
                    <a:pt x="1284" y="1976"/>
                    <a:pt x="1262" y="1983"/>
                  </a:cubicBezTo>
                  <a:cubicBezTo>
                    <a:pt x="1277" y="2005"/>
                    <a:pt x="1217" y="2043"/>
                    <a:pt x="1284" y="2057"/>
                  </a:cubicBezTo>
                  <a:cubicBezTo>
                    <a:pt x="1284" y="2117"/>
                    <a:pt x="1270" y="2139"/>
                    <a:pt x="1232" y="2184"/>
                  </a:cubicBezTo>
                  <a:cubicBezTo>
                    <a:pt x="1225" y="2206"/>
                    <a:pt x="1173" y="2228"/>
                    <a:pt x="1173" y="2251"/>
                  </a:cubicBezTo>
                  <a:cubicBezTo>
                    <a:pt x="1195" y="2251"/>
                    <a:pt x="1203" y="2265"/>
                    <a:pt x="1210" y="2280"/>
                  </a:cubicBezTo>
                  <a:cubicBezTo>
                    <a:pt x="1180" y="2280"/>
                    <a:pt x="1136" y="2280"/>
                    <a:pt x="1143" y="2317"/>
                  </a:cubicBezTo>
                  <a:cubicBezTo>
                    <a:pt x="1084" y="2280"/>
                    <a:pt x="1091" y="2340"/>
                    <a:pt x="1084" y="2377"/>
                  </a:cubicBezTo>
                  <a:cubicBezTo>
                    <a:pt x="1084" y="2377"/>
                    <a:pt x="1084" y="2377"/>
                    <a:pt x="1077" y="2377"/>
                  </a:cubicBezTo>
                  <a:cubicBezTo>
                    <a:pt x="1077" y="2392"/>
                    <a:pt x="1077" y="2406"/>
                    <a:pt x="1077" y="2421"/>
                  </a:cubicBezTo>
                  <a:cubicBezTo>
                    <a:pt x="1032" y="2421"/>
                    <a:pt x="1039" y="2392"/>
                    <a:pt x="1010" y="2377"/>
                  </a:cubicBezTo>
                  <a:cubicBezTo>
                    <a:pt x="995" y="2369"/>
                    <a:pt x="958" y="2362"/>
                    <a:pt x="935" y="2369"/>
                  </a:cubicBezTo>
                  <a:cubicBezTo>
                    <a:pt x="913" y="2369"/>
                    <a:pt x="958" y="2414"/>
                    <a:pt x="958" y="2429"/>
                  </a:cubicBezTo>
                  <a:cubicBezTo>
                    <a:pt x="958" y="2451"/>
                    <a:pt x="950" y="2451"/>
                    <a:pt x="943" y="2466"/>
                  </a:cubicBezTo>
                  <a:cubicBezTo>
                    <a:pt x="943" y="2481"/>
                    <a:pt x="935" y="2496"/>
                    <a:pt x="935" y="2510"/>
                  </a:cubicBezTo>
                  <a:cubicBezTo>
                    <a:pt x="913" y="2510"/>
                    <a:pt x="891" y="2496"/>
                    <a:pt x="861" y="2496"/>
                  </a:cubicBezTo>
                  <a:cubicBezTo>
                    <a:pt x="883" y="2503"/>
                    <a:pt x="883" y="2525"/>
                    <a:pt x="883" y="2548"/>
                  </a:cubicBezTo>
                  <a:cubicBezTo>
                    <a:pt x="824" y="2548"/>
                    <a:pt x="780" y="2510"/>
                    <a:pt x="727" y="2503"/>
                  </a:cubicBezTo>
                  <a:cubicBezTo>
                    <a:pt x="698" y="2503"/>
                    <a:pt x="705" y="2540"/>
                    <a:pt x="705" y="2562"/>
                  </a:cubicBezTo>
                  <a:cubicBezTo>
                    <a:pt x="638" y="2503"/>
                    <a:pt x="661" y="2629"/>
                    <a:pt x="616" y="2637"/>
                  </a:cubicBezTo>
                  <a:cubicBezTo>
                    <a:pt x="579" y="2644"/>
                    <a:pt x="542" y="2644"/>
                    <a:pt x="512" y="2659"/>
                  </a:cubicBezTo>
                  <a:cubicBezTo>
                    <a:pt x="475" y="2674"/>
                    <a:pt x="445" y="2703"/>
                    <a:pt x="408" y="2726"/>
                  </a:cubicBezTo>
                  <a:cubicBezTo>
                    <a:pt x="378" y="2748"/>
                    <a:pt x="364" y="2756"/>
                    <a:pt x="356" y="2793"/>
                  </a:cubicBezTo>
                  <a:cubicBezTo>
                    <a:pt x="349" y="2822"/>
                    <a:pt x="334" y="2822"/>
                    <a:pt x="312" y="2822"/>
                  </a:cubicBezTo>
                  <a:cubicBezTo>
                    <a:pt x="245" y="2822"/>
                    <a:pt x="223" y="2800"/>
                    <a:pt x="223" y="2741"/>
                  </a:cubicBezTo>
                  <a:cubicBezTo>
                    <a:pt x="193" y="2733"/>
                    <a:pt x="163" y="2733"/>
                    <a:pt x="133" y="2741"/>
                  </a:cubicBezTo>
                  <a:cubicBezTo>
                    <a:pt x="126" y="2763"/>
                    <a:pt x="148" y="2778"/>
                    <a:pt x="141" y="2800"/>
                  </a:cubicBezTo>
                  <a:cubicBezTo>
                    <a:pt x="104" y="2800"/>
                    <a:pt x="67" y="2800"/>
                    <a:pt x="29" y="2800"/>
                  </a:cubicBezTo>
                  <a:cubicBezTo>
                    <a:pt x="59" y="2822"/>
                    <a:pt x="67" y="2919"/>
                    <a:pt x="22" y="2919"/>
                  </a:cubicBezTo>
                  <a:cubicBezTo>
                    <a:pt x="7" y="2934"/>
                    <a:pt x="0" y="2978"/>
                    <a:pt x="0" y="3001"/>
                  </a:cubicBezTo>
                  <a:cubicBezTo>
                    <a:pt x="15" y="3001"/>
                    <a:pt x="52" y="2993"/>
                    <a:pt x="52" y="3015"/>
                  </a:cubicBezTo>
                  <a:cubicBezTo>
                    <a:pt x="52" y="3030"/>
                    <a:pt x="59" y="3038"/>
                    <a:pt x="81" y="3038"/>
                  </a:cubicBezTo>
                  <a:cubicBezTo>
                    <a:pt x="126" y="3038"/>
                    <a:pt x="156" y="3038"/>
                    <a:pt x="170" y="3082"/>
                  </a:cubicBezTo>
                  <a:cubicBezTo>
                    <a:pt x="215" y="3075"/>
                    <a:pt x="230" y="3097"/>
                    <a:pt x="245" y="3127"/>
                  </a:cubicBezTo>
                  <a:cubicBezTo>
                    <a:pt x="275" y="3171"/>
                    <a:pt x="312" y="3149"/>
                    <a:pt x="356" y="3149"/>
                  </a:cubicBezTo>
                  <a:cubicBezTo>
                    <a:pt x="349" y="3164"/>
                    <a:pt x="356" y="3179"/>
                    <a:pt x="371" y="3171"/>
                  </a:cubicBezTo>
                  <a:cubicBezTo>
                    <a:pt x="378" y="3171"/>
                    <a:pt x="378" y="3164"/>
                    <a:pt x="378" y="3164"/>
                  </a:cubicBezTo>
                  <a:cubicBezTo>
                    <a:pt x="401" y="3164"/>
                    <a:pt x="490" y="3156"/>
                    <a:pt x="482" y="3193"/>
                  </a:cubicBezTo>
                  <a:cubicBezTo>
                    <a:pt x="438" y="3208"/>
                    <a:pt x="393" y="3253"/>
                    <a:pt x="430" y="3304"/>
                  </a:cubicBezTo>
                  <a:cubicBezTo>
                    <a:pt x="438" y="3319"/>
                    <a:pt x="460" y="3341"/>
                    <a:pt x="475" y="3349"/>
                  </a:cubicBezTo>
                  <a:cubicBezTo>
                    <a:pt x="490" y="3371"/>
                    <a:pt x="520" y="3386"/>
                    <a:pt x="549" y="3393"/>
                  </a:cubicBezTo>
                  <a:cubicBezTo>
                    <a:pt x="549" y="3408"/>
                    <a:pt x="549" y="3423"/>
                    <a:pt x="542" y="3438"/>
                  </a:cubicBezTo>
                  <a:cubicBezTo>
                    <a:pt x="564" y="3438"/>
                    <a:pt x="579" y="3430"/>
                    <a:pt x="594" y="3438"/>
                  </a:cubicBezTo>
                  <a:cubicBezTo>
                    <a:pt x="586" y="3467"/>
                    <a:pt x="638" y="3482"/>
                    <a:pt x="653" y="3505"/>
                  </a:cubicBezTo>
                  <a:cubicBezTo>
                    <a:pt x="668" y="3542"/>
                    <a:pt x="638" y="3534"/>
                    <a:pt x="623" y="3557"/>
                  </a:cubicBezTo>
                  <a:cubicBezTo>
                    <a:pt x="653" y="3579"/>
                    <a:pt x="683" y="3579"/>
                    <a:pt x="683" y="3616"/>
                  </a:cubicBezTo>
                  <a:cubicBezTo>
                    <a:pt x="690" y="3660"/>
                    <a:pt x="698" y="3638"/>
                    <a:pt x="727" y="3668"/>
                  </a:cubicBezTo>
                  <a:cubicBezTo>
                    <a:pt x="698" y="3675"/>
                    <a:pt x="683" y="3705"/>
                    <a:pt x="646" y="3712"/>
                  </a:cubicBezTo>
                  <a:cubicBezTo>
                    <a:pt x="631" y="3712"/>
                    <a:pt x="623" y="3720"/>
                    <a:pt x="616" y="3720"/>
                  </a:cubicBezTo>
                  <a:cubicBezTo>
                    <a:pt x="623" y="3727"/>
                    <a:pt x="631" y="3727"/>
                    <a:pt x="638" y="3727"/>
                  </a:cubicBezTo>
                  <a:cubicBezTo>
                    <a:pt x="661" y="3817"/>
                    <a:pt x="735" y="3772"/>
                    <a:pt x="787" y="3817"/>
                  </a:cubicBezTo>
                  <a:cubicBezTo>
                    <a:pt x="824" y="3861"/>
                    <a:pt x="780" y="3906"/>
                    <a:pt x="809" y="3950"/>
                  </a:cubicBezTo>
                  <a:cubicBezTo>
                    <a:pt x="817" y="3972"/>
                    <a:pt x="861" y="4002"/>
                    <a:pt x="869" y="3957"/>
                  </a:cubicBezTo>
                  <a:cubicBezTo>
                    <a:pt x="906" y="3943"/>
                    <a:pt x="906" y="3950"/>
                    <a:pt x="928" y="3906"/>
                  </a:cubicBezTo>
                  <a:cubicBezTo>
                    <a:pt x="972" y="3898"/>
                    <a:pt x="972" y="3950"/>
                    <a:pt x="980" y="3980"/>
                  </a:cubicBezTo>
                  <a:cubicBezTo>
                    <a:pt x="995" y="4032"/>
                    <a:pt x="1047" y="4024"/>
                    <a:pt x="1084" y="4054"/>
                  </a:cubicBezTo>
                  <a:cubicBezTo>
                    <a:pt x="1128" y="4091"/>
                    <a:pt x="1166" y="4091"/>
                    <a:pt x="1166" y="4158"/>
                  </a:cubicBezTo>
                  <a:cubicBezTo>
                    <a:pt x="1173" y="4151"/>
                    <a:pt x="1173" y="4143"/>
                    <a:pt x="1180" y="4136"/>
                  </a:cubicBezTo>
                  <a:cubicBezTo>
                    <a:pt x="1210" y="4121"/>
                    <a:pt x="1232" y="4091"/>
                    <a:pt x="1270" y="4084"/>
                  </a:cubicBezTo>
                  <a:cubicBezTo>
                    <a:pt x="1314" y="4069"/>
                    <a:pt x="1351" y="4076"/>
                    <a:pt x="1366" y="4024"/>
                  </a:cubicBezTo>
                  <a:cubicBezTo>
                    <a:pt x="1374" y="4009"/>
                    <a:pt x="1359" y="4002"/>
                    <a:pt x="1374" y="3980"/>
                  </a:cubicBezTo>
                  <a:cubicBezTo>
                    <a:pt x="1388" y="3965"/>
                    <a:pt x="1411" y="3965"/>
                    <a:pt x="1425" y="3943"/>
                  </a:cubicBezTo>
                  <a:cubicBezTo>
                    <a:pt x="1433" y="3935"/>
                    <a:pt x="1440" y="3913"/>
                    <a:pt x="1448" y="3906"/>
                  </a:cubicBezTo>
                  <a:cubicBezTo>
                    <a:pt x="1455" y="3898"/>
                    <a:pt x="1470" y="3891"/>
                    <a:pt x="1477" y="3883"/>
                  </a:cubicBezTo>
                  <a:cubicBezTo>
                    <a:pt x="1485" y="3876"/>
                    <a:pt x="1492" y="3861"/>
                    <a:pt x="1507" y="3854"/>
                  </a:cubicBezTo>
                  <a:cubicBezTo>
                    <a:pt x="1529" y="3839"/>
                    <a:pt x="1529" y="3854"/>
                    <a:pt x="1544" y="3831"/>
                  </a:cubicBezTo>
                  <a:cubicBezTo>
                    <a:pt x="1559" y="3809"/>
                    <a:pt x="1544" y="3809"/>
                    <a:pt x="1567" y="3802"/>
                  </a:cubicBezTo>
                  <a:cubicBezTo>
                    <a:pt x="1582" y="3794"/>
                    <a:pt x="1596" y="3794"/>
                    <a:pt x="1611" y="3787"/>
                  </a:cubicBezTo>
                  <a:cubicBezTo>
                    <a:pt x="1611" y="3764"/>
                    <a:pt x="1619" y="3735"/>
                    <a:pt x="1611" y="3712"/>
                  </a:cubicBezTo>
                  <a:cubicBezTo>
                    <a:pt x="1604" y="3683"/>
                    <a:pt x="1582" y="3675"/>
                    <a:pt x="1574" y="3653"/>
                  </a:cubicBezTo>
                  <a:cubicBezTo>
                    <a:pt x="1648" y="3638"/>
                    <a:pt x="1648" y="3720"/>
                    <a:pt x="1641" y="3764"/>
                  </a:cubicBezTo>
                  <a:cubicBezTo>
                    <a:pt x="1633" y="3794"/>
                    <a:pt x="1619" y="3802"/>
                    <a:pt x="1611" y="3824"/>
                  </a:cubicBezTo>
                  <a:cubicBezTo>
                    <a:pt x="1604" y="3854"/>
                    <a:pt x="1619" y="3868"/>
                    <a:pt x="1633" y="3891"/>
                  </a:cubicBezTo>
                  <a:cubicBezTo>
                    <a:pt x="1641" y="3906"/>
                    <a:pt x="1648" y="3906"/>
                    <a:pt x="1648" y="3928"/>
                  </a:cubicBezTo>
                  <a:cubicBezTo>
                    <a:pt x="1648" y="3935"/>
                    <a:pt x="1641" y="3957"/>
                    <a:pt x="1648" y="3965"/>
                  </a:cubicBezTo>
                  <a:cubicBezTo>
                    <a:pt x="1671" y="3980"/>
                    <a:pt x="1693" y="3950"/>
                    <a:pt x="1700" y="3935"/>
                  </a:cubicBezTo>
                  <a:cubicBezTo>
                    <a:pt x="1715" y="3913"/>
                    <a:pt x="1715" y="3898"/>
                    <a:pt x="1737" y="3883"/>
                  </a:cubicBezTo>
                  <a:cubicBezTo>
                    <a:pt x="1774" y="3876"/>
                    <a:pt x="1789" y="3891"/>
                    <a:pt x="1782" y="3920"/>
                  </a:cubicBezTo>
                  <a:cubicBezTo>
                    <a:pt x="1797" y="3928"/>
                    <a:pt x="1812" y="3928"/>
                    <a:pt x="1819" y="3920"/>
                  </a:cubicBezTo>
                  <a:cubicBezTo>
                    <a:pt x="1827" y="3868"/>
                    <a:pt x="1819" y="3876"/>
                    <a:pt x="1871" y="3868"/>
                  </a:cubicBezTo>
                  <a:cubicBezTo>
                    <a:pt x="1871" y="3854"/>
                    <a:pt x="1864" y="3817"/>
                    <a:pt x="1864" y="3794"/>
                  </a:cubicBezTo>
                  <a:cubicBezTo>
                    <a:pt x="1871" y="3772"/>
                    <a:pt x="1886" y="3764"/>
                    <a:pt x="1886" y="3735"/>
                  </a:cubicBezTo>
                  <a:cubicBezTo>
                    <a:pt x="1923" y="3727"/>
                    <a:pt x="1990" y="3742"/>
                    <a:pt x="1990" y="3697"/>
                  </a:cubicBezTo>
                  <a:cubicBezTo>
                    <a:pt x="2019" y="3683"/>
                    <a:pt x="2034" y="3675"/>
                    <a:pt x="2049" y="3638"/>
                  </a:cubicBezTo>
                  <a:cubicBezTo>
                    <a:pt x="2057" y="3623"/>
                    <a:pt x="2049" y="3623"/>
                    <a:pt x="2072" y="3616"/>
                  </a:cubicBezTo>
                  <a:cubicBezTo>
                    <a:pt x="2079" y="3608"/>
                    <a:pt x="2109" y="3616"/>
                    <a:pt x="2116" y="3616"/>
                  </a:cubicBezTo>
                  <a:cubicBezTo>
                    <a:pt x="2138" y="3623"/>
                    <a:pt x="2168" y="3660"/>
                    <a:pt x="2183" y="3675"/>
                  </a:cubicBezTo>
                  <a:cubicBezTo>
                    <a:pt x="2183" y="3623"/>
                    <a:pt x="2183" y="3623"/>
                    <a:pt x="2183" y="3623"/>
                  </a:cubicBezTo>
                  <a:cubicBezTo>
                    <a:pt x="2153" y="3571"/>
                    <a:pt x="2138" y="3542"/>
                    <a:pt x="2138" y="3482"/>
                  </a:cubicBezTo>
                  <a:cubicBezTo>
                    <a:pt x="2138" y="3423"/>
                    <a:pt x="2124" y="3393"/>
                    <a:pt x="2101" y="3341"/>
                  </a:cubicBezTo>
                  <a:cubicBezTo>
                    <a:pt x="2094" y="3312"/>
                    <a:pt x="2094" y="3290"/>
                    <a:pt x="2094" y="3268"/>
                  </a:cubicBezTo>
                  <a:cubicBezTo>
                    <a:pt x="2087" y="3246"/>
                    <a:pt x="2064" y="3216"/>
                    <a:pt x="2094" y="3208"/>
                  </a:cubicBezTo>
                  <a:cubicBezTo>
                    <a:pt x="2094" y="3186"/>
                    <a:pt x="2101" y="3164"/>
                    <a:pt x="2094" y="3142"/>
                  </a:cubicBezTo>
                  <a:cubicBezTo>
                    <a:pt x="2087" y="3119"/>
                    <a:pt x="2072" y="3119"/>
                    <a:pt x="2064" y="3112"/>
                  </a:cubicBezTo>
                  <a:cubicBezTo>
                    <a:pt x="2057" y="3097"/>
                    <a:pt x="2049" y="3082"/>
                    <a:pt x="2034" y="3082"/>
                  </a:cubicBezTo>
                  <a:cubicBezTo>
                    <a:pt x="2049" y="3045"/>
                    <a:pt x="2034" y="2971"/>
                    <a:pt x="2079" y="2948"/>
                  </a:cubicBezTo>
                  <a:cubicBezTo>
                    <a:pt x="2079" y="2926"/>
                    <a:pt x="2094" y="2904"/>
                    <a:pt x="2124" y="2911"/>
                  </a:cubicBezTo>
                  <a:cubicBezTo>
                    <a:pt x="2109" y="2904"/>
                    <a:pt x="2042" y="2882"/>
                    <a:pt x="2027" y="2882"/>
                  </a:cubicBezTo>
                  <a:cubicBezTo>
                    <a:pt x="1982" y="2882"/>
                    <a:pt x="1953" y="2948"/>
                    <a:pt x="1930" y="2897"/>
                  </a:cubicBezTo>
                  <a:cubicBezTo>
                    <a:pt x="1916" y="2867"/>
                    <a:pt x="1938" y="2815"/>
                    <a:pt x="1945" y="2785"/>
                  </a:cubicBezTo>
                  <a:cubicBezTo>
                    <a:pt x="1945" y="2770"/>
                    <a:pt x="1945" y="2763"/>
                    <a:pt x="1945" y="2748"/>
                  </a:cubicBezTo>
                  <a:cubicBezTo>
                    <a:pt x="1953" y="2741"/>
                    <a:pt x="1968" y="2741"/>
                    <a:pt x="1968" y="2726"/>
                  </a:cubicBezTo>
                  <a:cubicBezTo>
                    <a:pt x="1975" y="2689"/>
                    <a:pt x="1945" y="2696"/>
                    <a:pt x="1923" y="2681"/>
                  </a:cubicBezTo>
                  <a:cubicBezTo>
                    <a:pt x="1901" y="2674"/>
                    <a:pt x="1886" y="2659"/>
                    <a:pt x="1864" y="2644"/>
                  </a:cubicBezTo>
                  <a:cubicBezTo>
                    <a:pt x="1864" y="2637"/>
                    <a:pt x="1864" y="2629"/>
                    <a:pt x="1856" y="2622"/>
                  </a:cubicBezTo>
                  <a:cubicBezTo>
                    <a:pt x="1849" y="2614"/>
                    <a:pt x="1827" y="2622"/>
                    <a:pt x="1812" y="2622"/>
                  </a:cubicBezTo>
                  <a:cubicBezTo>
                    <a:pt x="1812" y="2577"/>
                    <a:pt x="1804" y="2533"/>
                    <a:pt x="1812" y="2488"/>
                  </a:cubicBezTo>
                  <a:cubicBezTo>
                    <a:pt x="1812" y="2473"/>
                    <a:pt x="1819" y="2436"/>
                    <a:pt x="1827" y="2429"/>
                  </a:cubicBezTo>
                  <a:cubicBezTo>
                    <a:pt x="1841" y="2421"/>
                    <a:pt x="1864" y="2436"/>
                    <a:pt x="1886" y="2429"/>
                  </a:cubicBezTo>
                  <a:cubicBezTo>
                    <a:pt x="1901" y="2414"/>
                    <a:pt x="1893" y="2406"/>
                    <a:pt x="1901" y="2384"/>
                  </a:cubicBezTo>
                  <a:cubicBezTo>
                    <a:pt x="1916" y="2347"/>
                    <a:pt x="1938" y="2325"/>
                    <a:pt x="1945" y="2280"/>
                  </a:cubicBezTo>
                  <a:cubicBezTo>
                    <a:pt x="1953" y="2236"/>
                    <a:pt x="1930" y="2139"/>
                    <a:pt x="1886" y="2117"/>
                  </a:cubicBezTo>
                  <a:cubicBezTo>
                    <a:pt x="1864" y="2102"/>
                    <a:pt x="1834" y="2109"/>
                    <a:pt x="1804" y="2102"/>
                  </a:cubicBezTo>
                  <a:cubicBezTo>
                    <a:pt x="1774" y="2102"/>
                    <a:pt x="1760" y="2087"/>
                    <a:pt x="1737" y="2080"/>
                  </a:cubicBezTo>
                  <a:cubicBezTo>
                    <a:pt x="1708" y="2065"/>
                    <a:pt x="1678" y="2065"/>
                    <a:pt x="1648" y="2065"/>
                  </a:cubicBezTo>
                  <a:cubicBezTo>
                    <a:pt x="1648" y="2035"/>
                    <a:pt x="1619" y="2020"/>
                    <a:pt x="1596" y="2013"/>
                  </a:cubicBezTo>
                  <a:cubicBezTo>
                    <a:pt x="1582" y="1991"/>
                    <a:pt x="1529" y="1983"/>
                    <a:pt x="1515" y="1954"/>
                  </a:cubicBezTo>
                  <a:cubicBezTo>
                    <a:pt x="1507" y="1939"/>
                    <a:pt x="1507" y="1924"/>
                    <a:pt x="1500" y="1909"/>
                  </a:cubicBezTo>
                  <a:cubicBezTo>
                    <a:pt x="1485" y="1894"/>
                    <a:pt x="1455" y="1879"/>
                    <a:pt x="1448" y="1864"/>
                  </a:cubicBezTo>
                  <a:cubicBezTo>
                    <a:pt x="1440" y="1835"/>
                    <a:pt x="1463" y="1842"/>
                    <a:pt x="1470" y="1820"/>
                  </a:cubicBezTo>
                  <a:cubicBezTo>
                    <a:pt x="1477" y="1812"/>
                    <a:pt x="1470" y="1805"/>
                    <a:pt x="1477" y="1790"/>
                  </a:cubicBezTo>
                  <a:cubicBezTo>
                    <a:pt x="1485" y="1783"/>
                    <a:pt x="1492" y="1775"/>
                    <a:pt x="1500" y="1768"/>
                  </a:cubicBezTo>
                  <a:cubicBezTo>
                    <a:pt x="1522" y="1731"/>
                    <a:pt x="1515" y="1694"/>
                    <a:pt x="1515" y="1649"/>
                  </a:cubicBezTo>
                  <a:cubicBezTo>
                    <a:pt x="1537" y="1649"/>
                    <a:pt x="1596" y="1642"/>
                    <a:pt x="1604" y="1656"/>
                  </a:cubicBezTo>
                  <a:cubicBezTo>
                    <a:pt x="1619" y="1664"/>
                    <a:pt x="1604" y="1686"/>
                    <a:pt x="1619" y="1694"/>
                  </a:cubicBezTo>
                  <a:cubicBezTo>
                    <a:pt x="1626" y="1701"/>
                    <a:pt x="1648" y="1701"/>
                    <a:pt x="1656" y="1701"/>
                  </a:cubicBezTo>
                  <a:cubicBezTo>
                    <a:pt x="1641" y="1686"/>
                    <a:pt x="1626" y="1679"/>
                    <a:pt x="1633" y="1649"/>
                  </a:cubicBezTo>
                  <a:cubicBezTo>
                    <a:pt x="1656" y="1649"/>
                    <a:pt x="1671" y="1649"/>
                    <a:pt x="1693" y="1649"/>
                  </a:cubicBezTo>
                  <a:cubicBezTo>
                    <a:pt x="1693" y="1604"/>
                    <a:pt x="1685" y="1590"/>
                    <a:pt x="1737" y="1590"/>
                  </a:cubicBezTo>
                  <a:cubicBezTo>
                    <a:pt x="1745" y="1545"/>
                    <a:pt x="1722" y="1523"/>
                    <a:pt x="1730" y="1478"/>
                  </a:cubicBezTo>
                  <a:cubicBezTo>
                    <a:pt x="1752" y="1463"/>
                    <a:pt x="1804" y="1471"/>
                    <a:pt x="1827" y="1463"/>
                  </a:cubicBezTo>
                  <a:cubicBezTo>
                    <a:pt x="1871" y="1456"/>
                    <a:pt x="1908" y="1471"/>
                    <a:pt x="1945" y="1471"/>
                  </a:cubicBezTo>
                  <a:cubicBezTo>
                    <a:pt x="1953" y="1426"/>
                    <a:pt x="2012" y="1471"/>
                    <a:pt x="2034" y="1456"/>
                  </a:cubicBezTo>
                  <a:cubicBezTo>
                    <a:pt x="2049" y="1449"/>
                    <a:pt x="2072" y="1352"/>
                    <a:pt x="2072" y="1330"/>
                  </a:cubicBezTo>
                  <a:cubicBezTo>
                    <a:pt x="2034" y="1322"/>
                    <a:pt x="2049" y="1359"/>
                    <a:pt x="2027" y="1367"/>
                  </a:cubicBezTo>
                  <a:cubicBezTo>
                    <a:pt x="2012" y="1374"/>
                    <a:pt x="1982" y="1344"/>
                    <a:pt x="1968" y="1330"/>
                  </a:cubicBezTo>
                  <a:cubicBezTo>
                    <a:pt x="1960" y="1315"/>
                    <a:pt x="1953" y="1293"/>
                    <a:pt x="1945" y="1270"/>
                  </a:cubicBezTo>
                  <a:cubicBezTo>
                    <a:pt x="1938" y="1255"/>
                    <a:pt x="1923" y="1233"/>
                    <a:pt x="1923" y="1218"/>
                  </a:cubicBezTo>
                  <a:cubicBezTo>
                    <a:pt x="1901" y="1233"/>
                    <a:pt x="1893" y="1248"/>
                    <a:pt x="1864" y="1255"/>
                  </a:cubicBezTo>
                  <a:cubicBezTo>
                    <a:pt x="1827" y="1270"/>
                    <a:pt x="1819" y="1263"/>
                    <a:pt x="1789" y="1248"/>
                  </a:cubicBezTo>
                  <a:cubicBezTo>
                    <a:pt x="1760" y="1233"/>
                    <a:pt x="1708" y="1211"/>
                    <a:pt x="1693" y="1166"/>
                  </a:cubicBezTo>
                  <a:cubicBezTo>
                    <a:pt x="1693" y="1159"/>
                    <a:pt x="1700" y="1144"/>
                    <a:pt x="1693" y="1137"/>
                  </a:cubicBezTo>
                  <a:cubicBezTo>
                    <a:pt x="1693" y="1122"/>
                    <a:pt x="1671" y="1107"/>
                    <a:pt x="1663" y="1099"/>
                  </a:cubicBezTo>
                  <a:cubicBezTo>
                    <a:pt x="1648" y="1085"/>
                    <a:pt x="1633" y="1070"/>
                    <a:pt x="1611" y="1062"/>
                  </a:cubicBezTo>
                  <a:cubicBezTo>
                    <a:pt x="1589" y="1055"/>
                    <a:pt x="1574" y="1047"/>
                    <a:pt x="1552" y="1040"/>
                  </a:cubicBezTo>
                  <a:cubicBezTo>
                    <a:pt x="1529" y="1033"/>
                    <a:pt x="1507" y="1040"/>
                    <a:pt x="1485" y="1040"/>
                  </a:cubicBezTo>
                  <a:cubicBezTo>
                    <a:pt x="1485" y="988"/>
                    <a:pt x="1470" y="892"/>
                    <a:pt x="1529" y="877"/>
                  </a:cubicBezTo>
                  <a:cubicBezTo>
                    <a:pt x="1529" y="854"/>
                    <a:pt x="1515" y="847"/>
                    <a:pt x="1507" y="825"/>
                  </a:cubicBezTo>
                  <a:cubicBezTo>
                    <a:pt x="1507" y="802"/>
                    <a:pt x="1515" y="788"/>
                    <a:pt x="1529" y="773"/>
                  </a:cubicBezTo>
                  <a:cubicBezTo>
                    <a:pt x="1559" y="743"/>
                    <a:pt x="1589" y="743"/>
                    <a:pt x="1619" y="721"/>
                  </a:cubicBezTo>
                  <a:cubicBezTo>
                    <a:pt x="1648" y="706"/>
                    <a:pt x="1633" y="676"/>
                    <a:pt x="1656" y="647"/>
                  </a:cubicBezTo>
                  <a:cubicBezTo>
                    <a:pt x="1678" y="632"/>
                    <a:pt x="1693" y="624"/>
                    <a:pt x="1722" y="624"/>
                  </a:cubicBezTo>
                  <a:cubicBezTo>
                    <a:pt x="1722" y="609"/>
                    <a:pt x="1715" y="587"/>
                    <a:pt x="1708" y="572"/>
                  </a:cubicBezTo>
                  <a:cubicBezTo>
                    <a:pt x="1663" y="565"/>
                    <a:pt x="1656" y="565"/>
                    <a:pt x="1641" y="528"/>
                  </a:cubicBezTo>
                  <a:cubicBezTo>
                    <a:pt x="1626" y="505"/>
                    <a:pt x="1619" y="498"/>
                    <a:pt x="1626" y="468"/>
                  </a:cubicBezTo>
                  <a:cubicBezTo>
                    <a:pt x="1626" y="453"/>
                    <a:pt x="1641" y="446"/>
                    <a:pt x="1641" y="424"/>
                  </a:cubicBezTo>
                  <a:cubicBezTo>
                    <a:pt x="1641" y="431"/>
                    <a:pt x="1641" y="446"/>
                    <a:pt x="1641" y="453"/>
                  </a:cubicBezTo>
                  <a:cubicBezTo>
                    <a:pt x="1656" y="453"/>
                    <a:pt x="1663" y="461"/>
                    <a:pt x="1671" y="461"/>
                  </a:cubicBezTo>
                  <a:cubicBezTo>
                    <a:pt x="1671" y="491"/>
                    <a:pt x="1722" y="520"/>
                    <a:pt x="1745" y="520"/>
                  </a:cubicBezTo>
                  <a:cubicBezTo>
                    <a:pt x="1745" y="528"/>
                    <a:pt x="1745" y="542"/>
                    <a:pt x="1745" y="550"/>
                  </a:cubicBezTo>
                  <a:cubicBezTo>
                    <a:pt x="1767" y="557"/>
                    <a:pt x="1789" y="550"/>
                    <a:pt x="1812" y="557"/>
                  </a:cubicBezTo>
                  <a:cubicBezTo>
                    <a:pt x="1804" y="565"/>
                    <a:pt x="1797" y="580"/>
                    <a:pt x="1797" y="587"/>
                  </a:cubicBezTo>
                  <a:cubicBezTo>
                    <a:pt x="1819" y="595"/>
                    <a:pt x="1841" y="595"/>
                    <a:pt x="1864" y="595"/>
                  </a:cubicBezTo>
                  <a:cubicBezTo>
                    <a:pt x="1864" y="617"/>
                    <a:pt x="1871" y="647"/>
                    <a:pt x="1864" y="661"/>
                  </a:cubicBezTo>
                  <a:cubicBezTo>
                    <a:pt x="1856" y="684"/>
                    <a:pt x="1834" y="699"/>
                    <a:pt x="1834" y="721"/>
                  </a:cubicBezTo>
                  <a:cubicBezTo>
                    <a:pt x="1856" y="728"/>
                    <a:pt x="1871" y="721"/>
                    <a:pt x="1886" y="721"/>
                  </a:cubicBezTo>
                  <a:cubicBezTo>
                    <a:pt x="1886" y="743"/>
                    <a:pt x="1886" y="780"/>
                    <a:pt x="1893" y="795"/>
                  </a:cubicBezTo>
                  <a:cubicBezTo>
                    <a:pt x="1893" y="780"/>
                    <a:pt x="1901" y="758"/>
                    <a:pt x="1901" y="743"/>
                  </a:cubicBezTo>
                  <a:cubicBezTo>
                    <a:pt x="1923" y="728"/>
                    <a:pt x="1893" y="669"/>
                    <a:pt x="1930" y="676"/>
                  </a:cubicBezTo>
                  <a:cubicBezTo>
                    <a:pt x="1938" y="684"/>
                    <a:pt x="1938" y="706"/>
                    <a:pt x="1945" y="713"/>
                  </a:cubicBezTo>
                  <a:cubicBezTo>
                    <a:pt x="1953" y="706"/>
                    <a:pt x="1945" y="684"/>
                    <a:pt x="1953" y="676"/>
                  </a:cubicBezTo>
                  <a:cubicBezTo>
                    <a:pt x="1975" y="654"/>
                    <a:pt x="1975" y="669"/>
                    <a:pt x="1990" y="676"/>
                  </a:cubicBezTo>
                  <a:cubicBezTo>
                    <a:pt x="2005" y="684"/>
                    <a:pt x="2005" y="691"/>
                    <a:pt x="2027" y="699"/>
                  </a:cubicBezTo>
                  <a:cubicBezTo>
                    <a:pt x="2042" y="699"/>
                    <a:pt x="2057" y="699"/>
                    <a:pt x="2072" y="699"/>
                  </a:cubicBezTo>
                  <a:cubicBezTo>
                    <a:pt x="2057" y="676"/>
                    <a:pt x="2042" y="654"/>
                    <a:pt x="2027" y="632"/>
                  </a:cubicBezTo>
                  <a:cubicBezTo>
                    <a:pt x="2012" y="609"/>
                    <a:pt x="1982" y="595"/>
                    <a:pt x="1990" y="557"/>
                  </a:cubicBezTo>
                  <a:cubicBezTo>
                    <a:pt x="2012" y="550"/>
                    <a:pt x="2042" y="550"/>
                    <a:pt x="2064" y="550"/>
                  </a:cubicBezTo>
                  <a:cubicBezTo>
                    <a:pt x="2064" y="595"/>
                    <a:pt x="2101" y="580"/>
                    <a:pt x="2116" y="602"/>
                  </a:cubicBezTo>
                  <a:cubicBezTo>
                    <a:pt x="2124" y="617"/>
                    <a:pt x="2124" y="654"/>
                    <a:pt x="2124" y="669"/>
                  </a:cubicBezTo>
                  <a:cubicBezTo>
                    <a:pt x="2131" y="699"/>
                    <a:pt x="2131" y="706"/>
                    <a:pt x="2138" y="728"/>
                  </a:cubicBezTo>
                  <a:cubicBezTo>
                    <a:pt x="2153" y="758"/>
                    <a:pt x="2161" y="773"/>
                    <a:pt x="2190" y="788"/>
                  </a:cubicBezTo>
                  <a:cubicBezTo>
                    <a:pt x="2227" y="810"/>
                    <a:pt x="2272" y="847"/>
                    <a:pt x="2317" y="854"/>
                  </a:cubicBezTo>
                  <a:cubicBezTo>
                    <a:pt x="2339" y="854"/>
                    <a:pt x="2406" y="869"/>
                    <a:pt x="2421" y="854"/>
                  </a:cubicBezTo>
                  <a:cubicBezTo>
                    <a:pt x="2421" y="847"/>
                    <a:pt x="2428" y="825"/>
                    <a:pt x="2428" y="817"/>
                  </a:cubicBezTo>
                  <a:cubicBezTo>
                    <a:pt x="2435" y="810"/>
                    <a:pt x="2450" y="795"/>
                    <a:pt x="2450" y="788"/>
                  </a:cubicBezTo>
                  <a:cubicBezTo>
                    <a:pt x="2450" y="780"/>
                    <a:pt x="2450" y="765"/>
                    <a:pt x="2450" y="758"/>
                  </a:cubicBezTo>
                  <a:cubicBezTo>
                    <a:pt x="2458" y="743"/>
                    <a:pt x="2465" y="743"/>
                    <a:pt x="2480" y="736"/>
                  </a:cubicBezTo>
                  <a:cubicBezTo>
                    <a:pt x="2487" y="713"/>
                    <a:pt x="2502" y="699"/>
                    <a:pt x="2524" y="684"/>
                  </a:cubicBezTo>
                </a:path>
              </a:pathLst>
            </a:custGeom>
            <a:grpFill/>
            <a:ln w="6350" cap="flat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lIns="60927" tIns="30463" rIns="60927" bIns="30463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35" name="Freeform 27"/>
            <p:cNvSpPr>
              <a:spLocks noChangeArrowheads="1"/>
            </p:cNvSpPr>
            <p:nvPr/>
          </p:nvSpPr>
          <p:spPr bwMode="auto">
            <a:xfrm>
              <a:off x="13832056" y="5849899"/>
              <a:ext cx="261172" cy="360064"/>
            </a:xfrm>
            <a:custGeom>
              <a:avLst/>
              <a:gdLst>
                <a:gd name="T0" fmla="*/ 52 w 602"/>
                <a:gd name="T1" fmla="*/ 780 h 833"/>
                <a:gd name="T2" fmla="*/ 52 w 602"/>
                <a:gd name="T3" fmla="*/ 780 h 833"/>
                <a:gd name="T4" fmla="*/ 126 w 602"/>
                <a:gd name="T5" fmla="*/ 787 h 833"/>
                <a:gd name="T6" fmla="*/ 193 w 602"/>
                <a:gd name="T7" fmla="*/ 802 h 833"/>
                <a:gd name="T8" fmla="*/ 319 w 602"/>
                <a:gd name="T9" fmla="*/ 772 h 833"/>
                <a:gd name="T10" fmla="*/ 319 w 602"/>
                <a:gd name="T11" fmla="*/ 728 h 833"/>
                <a:gd name="T12" fmla="*/ 401 w 602"/>
                <a:gd name="T13" fmla="*/ 750 h 833"/>
                <a:gd name="T14" fmla="*/ 460 w 602"/>
                <a:gd name="T15" fmla="*/ 772 h 833"/>
                <a:gd name="T16" fmla="*/ 490 w 602"/>
                <a:gd name="T17" fmla="*/ 743 h 833"/>
                <a:gd name="T18" fmla="*/ 542 w 602"/>
                <a:gd name="T19" fmla="*/ 750 h 833"/>
                <a:gd name="T20" fmla="*/ 542 w 602"/>
                <a:gd name="T21" fmla="*/ 720 h 833"/>
                <a:gd name="T22" fmla="*/ 579 w 602"/>
                <a:gd name="T23" fmla="*/ 653 h 833"/>
                <a:gd name="T24" fmla="*/ 601 w 602"/>
                <a:gd name="T25" fmla="*/ 594 h 833"/>
                <a:gd name="T26" fmla="*/ 564 w 602"/>
                <a:gd name="T27" fmla="*/ 550 h 833"/>
                <a:gd name="T28" fmla="*/ 527 w 602"/>
                <a:gd name="T29" fmla="*/ 438 h 833"/>
                <a:gd name="T30" fmla="*/ 520 w 602"/>
                <a:gd name="T31" fmla="*/ 438 h 833"/>
                <a:gd name="T32" fmla="*/ 512 w 602"/>
                <a:gd name="T33" fmla="*/ 416 h 833"/>
                <a:gd name="T34" fmla="*/ 534 w 602"/>
                <a:gd name="T35" fmla="*/ 416 h 833"/>
                <a:gd name="T36" fmla="*/ 564 w 602"/>
                <a:gd name="T37" fmla="*/ 349 h 833"/>
                <a:gd name="T38" fmla="*/ 586 w 602"/>
                <a:gd name="T39" fmla="*/ 275 h 833"/>
                <a:gd name="T40" fmla="*/ 579 w 602"/>
                <a:gd name="T41" fmla="*/ 230 h 833"/>
                <a:gd name="T42" fmla="*/ 594 w 602"/>
                <a:gd name="T43" fmla="*/ 171 h 833"/>
                <a:gd name="T44" fmla="*/ 564 w 602"/>
                <a:gd name="T45" fmla="*/ 119 h 833"/>
                <a:gd name="T46" fmla="*/ 534 w 602"/>
                <a:gd name="T47" fmla="*/ 45 h 833"/>
                <a:gd name="T48" fmla="*/ 490 w 602"/>
                <a:gd name="T49" fmla="*/ 37 h 833"/>
                <a:gd name="T50" fmla="*/ 453 w 602"/>
                <a:gd name="T51" fmla="*/ 37 h 833"/>
                <a:gd name="T52" fmla="*/ 438 w 602"/>
                <a:gd name="T53" fmla="*/ 8 h 833"/>
                <a:gd name="T54" fmla="*/ 401 w 602"/>
                <a:gd name="T55" fmla="*/ 0 h 833"/>
                <a:gd name="T56" fmla="*/ 401 w 602"/>
                <a:gd name="T57" fmla="*/ 30 h 833"/>
                <a:gd name="T58" fmla="*/ 371 w 602"/>
                <a:gd name="T59" fmla="*/ 30 h 833"/>
                <a:gd name="T60" fmla="*/ 371 w 602"/>
                <a:gd name="T61" fmla="*/ 67 h 833"/>
                <a:gd name="T62" fmla="*/ 326 w 602"/>
                <a:gd name="T63" fmla="*/ 45 h 833"/>
                <a:gd name="T64" fmla="*/ 304 w 602"/>
                <a:gd name="T65" fmla="*/ 82 h 833"/>
                <a:gd name="T66" fmla="*/ 289 w 602"/>
                <a:gd name="T67" fmla="*/ 111 h 833"/>
                <a:gd name="T68" fmla="*/ 267 w 602"/>
                <a:gd name="T69" fmla="*/ 82 h 833"/>
                <a:gd name="T70" fmla="*/ 208 w 602"/>
                <a:gd name="T71" fmla="*/ 119 h 833"/>
                <a:gd name="T72" fmla="*/ 148 w 602"/>
                <a:gd name="T73" fmla="*/ 126 h 833"/>
                <a:gd name="T74" fmla="*/ 96 w 602"/>
                <a:gd name="T75" fmla="*/ 126 h 833"/>
                <a:gd name="T76" fmla="*/ 133 w 602"/>
                <a:gd name="T77" fmla="*/ 193 h 833"/>
                <a:gd name="T78" fmla="*/ 118 w 602"/>
                <a:gd name="T79" fmla="*/ 275 h 833"/>
                <a:gd name="T80" fmla="*/ 96 w 602"/>
                <a:gd name="T81" fmla="*/ 312 h 833"/>
                <a:gd name="T82" fmla="*/ 81 w 602"/>
                <a:gd name="T83" fmla="*/ 342 h 833"/>
                <a:gd name="T84" fmla="*/ 66 w 602"/>
                <a:gd name="T85" fmla="*/ 379 h 833"/>
                <a:gd name="T86" fmla="*/ 22 w 602"/>
                <a:gd name="T87" fmla="*/ 438 h 833"/>
                <a:gd name="T88" fmla="*/ 37 w 602"/>
                <a:gd name="T89" fmla="*/ 520 h 833"/>
                <a:gd name="T90" fmla="*/ 22 w 602"/>
                <a:gd name="T91" fmla="*/ 572 h 833"/>
                <a:gd name="T92" fmla="*/ 0 w 602"/>
                <a:gd name="T93" fmla="*/ 661 h 833"/>
                <a:gd name="T94" fmla="*/ 15 w 602"/>
                <a:gd name="T95" fmla="*/ 668 h 833"/>
                <a:gd name="T96" fmla="*/ 15 w 602"/>
                <a:gd name="T97" fmla="*/ 743 h 833"/>
                <a:gd name="T98" fmla="*/ 29 w 602"/>
                <a:gd name="T99" fmla="*/ 765 h 833"/>
                <a:gd name="T100" fmla="*/ 52 w 602"/>
                <a:gd name="T101" fmla="*/ 780 h 8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2" h="833">
                  <a:moveTo>
                    <a:pt x="52" y="780"/>
                  </a:moveTo>
                  <a:lnTo>
                    <a:pt x="52" y="780"/>
                  </a:lnTo>
                  <a:cubicBezTo>
                    <a:pt x="66" y="787"/>
                    <a:pt x="111" y="787"/>
                    <a:pt x="126" y="787"/>
                  </a:cubicBezTo>
                  <a:cubicBezTo>
                    <a:pt x="163" y="787"/>
                    <a:pt x="170" y="787"/>
                    <a:pt x="193" y="802"/>
                  </a:cubicBezTo>
                  <a:cubicBezTo>
                    <a:pt x="252" y="832"/>
                    <a:pt x="274" y="795"/>
                    <a:pt x="319" y="772"/>
                  </a:cubicBezTo>
                  <a:cubicBezTo>
                    <a:pt x="319" y="757"/>
                    <a:pt x="319" y="743"/>
                    <a:pt x="319" y="728"/>
                  </a:cubicBezTo>
                  <a:cubicBezTo>
                    <a:pt x="356" y="705"/>
                    <a:pt x="371" y="743"/>
                    <a:pt x="401" y="750"/>
                  </a:cubicBezTo>
                  <a:cubicBezTo>
                    <a:pt x="438" y="765"/>
                    <a:pt x="438" y="720"/>
                    <a:pt x="460" y="772"/>
                  </a:cubicBezTo>
                  <a:cubicBezTo>
                    <a:pt x="468" y="757"/>
                    <a:pt x="475" y="750"/>
                    <a:pt x="490" y="743"/>
                  </a:cubicBezTo>
                  <a:cubicBezTo>
                    <a:pt x="497" y="743"/>
                    <a:pt x="512" y="750"/>
                    <a:pt x="542" y="750"/>
                  </a:cubicBezTo>
                  <a:cubicBezTo>
                    <a:pt x="542" y="743"/>
                    <a:pt x="542" y="735"/>
                    <a:pt x="542" y="720"/>
                  </a:cubicBezTo>
                  <a:cubicBezTo>
                    <a:pt x="549" y="691"/>
                    <a:pt x="534" y="653"/>
                    <a:pt x="579" y="653"/>
                  </a:cubicBezTo>
                  <a:cubicBezTo>
                    <a:pt x="586" y="631"/>
                    <a:pt x="601" y="609"/>
                    <a:pt x="601" y="594"/>
                  </a:cubicBezTo>
                  <a:cubicBezTo>
                    <a:pt x="594" y="564"/>
                    <a:pt x="579" y="564"/>
                    <a:pt x="564" y="550"/>
                  </a:cubicBezTo>
                  <a:cubicBezTo>
                    <a:pt x="534" y="527"/>
                    <a:pt x="527" y="475"/>
                    <a:pt x="527" y="438"/>
                  </a:cubicBezTo>
                  <a:cubicBezTo>
                    <a:pt x="520" y="438"/>
                    <a:pt x="520" y="438"/>
                    <a:pt x="520" y="438"/>
                  </a:cubicBezTo>
                  <a:cubicBezTo>
                    <a:pt x="520" y="431"/>
                    <a:pt x="512" y="423"/>
                    <a:pt x="512" y="416"/>
                  </a:cubicBezTo>
                  <a:cubicBezTo>
                    <a:pt x="520" y="416"/>
                    <a:pt x="527" y="416"/>
                    <a:pt x="534" y="416"/>
                  </a:cubicBezTo>
                  <a:cubicBezTo>
                    <a:pt x="534" y="386"/>
                    <a:pt x="557" y="364"/>
                    <a:pt x="564" y="349"/>
                  </a:cubicBezTo>
                  <a:cubicBezTo>
                    <a:pt x="579" y="327"/>
                    <a:pt x="586" y="297"/>
                    <a:pt x="586" y="275"/>
                  </a:cubicBezTo>
                  <a:cubicBezTo>
                    <a:pt x="549" y="275"/>
                    <a:pt x="571" y="238"/>
                    <a:pt x="579" y="230"/>
                  </a:cubicBezTo>
                  <a:cubicBezTo>
                    <a:pt x="594" y="208"/>
                    <a:pt x="594" y="193"/>
                    <a:pt x="594" y="171"/>
                  </a:cubicBezTo>
                  <a:cubicBezTo>
                    <a:pt x="542" y="171"/>
                    <a:pt x="564" y="148"/>
                    <a:pt x="564" y="119"/>
                  </a:cubicBezTo>
                  <a:cubicBezTo>
                    <a:pt x="564" y="89"/>
                    <a:pt x="557" y="59"/>
                    <a:pt x="534" y="45"/>
                  </a:cubicBezTo>
                  <a:cubicBezTo>
                    <a:pt x="520" y="45"/>
                    <a:pt x="497" y="37"/>
                    <a:pt x="490" y="37"/>
                  </a:cubicBezTo>
                  <a:cubicBezTo>
                    <a:pt x="475" y="30"/>
                    <a:pt x="468" y="45"/>
                    <a:pt x="453" y="37"/>
                  </a:cubicBezTo>
                  <a:cubicBezTo>
                    <a:pt x="430" y="30"/>
                    <a:pt x="453" y="22"/>
                    <a:pt x="438" y="8"/>
                  </a:cubicBezTo>
                  <a:cubicBezTo>
                    <a:pt x="430" y="0"/>
                    <a:pt x="408" y="0"/>
                    <a:pt x="401" y="0"/>
                  </a:cubicBezTo>
                  <a:cubicBezTo>
                    <a:pt x="401" y="8"/>
                    <a:pt x="401" y="22"/>
                    <a:pt x="401" y="30"/>
                  </a:cubicBezTo>
                  <a:cubicBezTo>
                    <a:pt x="393" y="30"/>
                    <a:pt x="378" y="30"/>
                    <a:pt x="371" y="30"/>
                  </a:cubicBezTo>
                  <a:cubicBezTo>
                    <a:pt x="371" y="45"/>
                    <a:pt x="371" y="59"/>
                    <a:pt x="371" y="67"/>
                  </a:cubicBezTo>
                  <a:cubicBezTo>
                    <a:pt x="349" y="74"/>
                    <a:pt x="341" y="52"/>
                    <a:pt x="326" y="45"/>
                  </a:cubicBezTo>
                  <a:cubicBezTo>
                    <a:pt x="319" y="59"/>
                    <a:pt x="312" y="74"/>
                    <a:pt x="304" y="82"/>
                  </a:cubicBezTo>
                  <a:cubicBezTo>
                    <a:pt x="297" y="89"/>
                    <a:pt x="289" y="111"/>
                    <a:pt x="289" y="111"/>
                  </a:cubicBezTo>
                  <a:cubicBezTo>
                    <a:pt x="267" y="126"/>
                    <a:pt x="282" y="89"/>
                    <a:pt x="267" y="82"/>
                  </a:cubicBezTo>
                  <a:cubicBezTo>
                    <a:pt x="215" y="74"/>
                    <a:pt x="245" y="111"/>
                    <a:pt x="208" y="119"/>
                  </a:cubicBezTo>
                  <a:cubicBezTo>
                    <a:pt x="193" y="126"/>
                    <a:pt x="141" y="97"/>
                    <a:pt x="148" y="126"/>
                  </a:cubicBezTo>
                  <a:cubicBezTo>
                    <a:pt x="133" y="126"/>
                    <a:pt x="111" y="126"/>
                    <a:pt x="96" y="126"/>
                  </a:cubicBezTo>
                  <a:cubicBezTo>
                    <a:pt x="96" y="156"/>
                    <a:pt x="126" y="171"/>
                    <a:pt x="133" y="193"/>
                  </a:cubicBezTo>
                  <a:cubicBezTo>
                    <a:pt x="133" y="208"/>
                    <a:pt x="126" y="253"/>
                    <a:pt x="118" y="275"/>
                  </a:cubicBezTo>
                  <a:cubicBezTo>
                    <a:pt x="111" y="282"/>
                    <a:pt x="104" y="297"/>
                    <a:pt x="96" y="312"/>
                  </a:cubicBezTo>
                  <a:cubicBezTo>
                    <a:pt x="89" y="327"/>
                    <a:pt x="89" y="327"/>
                    <a:pt x="81" y="342"/>
                  </a:cubicBezTo>
                  <a:cubicBezTo>
                    <a:pt x="74" y="356"/>
                    <a:pt x="74" y="364"/>
                    <a:pt x="66" y="379"/>
                  </a:cubicBezTo>
                  <a:cubicBezTo>
                    <a:pt x="59" y="408"/>
                    <a:pt x="22" y="408"/>
                    <a:pt x="22" y="438"/>
                  </a:cubicBezTo>
                  <a:cubicBezTo>
                    <a:pt x="22" y="468"/>
                    <a:pt x="37" y="490"/>
                    <a:pt x="37" y="520"/>
                  </a:cubicBezTo>
                  <a:cubicBezTo>
                    <a:pt x="29" y="535"/>
                    <a:pt x="15" y="550"/>
                    <a:pt x="22" y="572"/>
                  </a:cubicBezTo>
                  <a:cubicBezTo>
                    <a:pt x="29" y="616"/>
                    <a:pt x="44" y="639"/>
                    <a:pt x="0" y="661"/>
                  </a:cubicBezTo>
                  <a:lnTo>
                    <a:pt x="15" y="668"/>
                  </a:lnTo>
                  <a:cubicBezTo>
                    <a:pt x="22" y="683"/>
                    <a:pt x="15" y="713"/>
                    <a:pt x="15" y="743"/>
                  </a:cubicBezTo>
                  <a:cubicBezTo>
                    <a:pt x="15" y="743"/>
                    <a:pt x="22" y="750"/>
                    <a:pt x="29" y="765"/>
                  </a:cubicBezTo>
                  <a:cubicBezTo>
                    <a:pt x="22" y="757"/>
                    <a:pt x="52" y="780"/>
                    <a:pt x="52" y="780"/>
                  </a:cubicBezTo>
                </a:path>
              </a:pathLst>
            </a:custGeom>
            <a:grpFill/>
            <a:ln w="6350" cap="flat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lIns="60927" tIns="30463" rIns="60927" bIns="30463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36" name="Freeform 28"/>
            <p:cNvSpPr>
              <a:spLocks noChangeArrowheads="1"/>
            </p:cNvSpPr>
            <p:nvPr/>
          </p:nvSpPr>
          <p:spPr bwMode="auto">
            <a:xfrm>
              <a:off x="11512010" y="8867575"/>
              <a:ext cx="26689" cy="32388"/>
            </a:xfrm>
            <a:custGeom>
              <a:avLst/>
              <a:gdLst>
                <a:gd name="T0" fmla="*/ 52 w 60"/>
                <a:gd name="T1" fmla="*/ 0 h 75"/>
                <a:gd name="T2" fmla="*/ 52 w 60"/>
                <a:gd name="T3" fmla="*/ 0 h 75"/>
                <a:gd name="T4" fmla="*/ 59 w 60"/>
                <a:gd name="T5" fmla="*/ 44 h 75"/>
                <a:gd name="T6" fmla="*/ 59 w 60"/>
                <a:gd name="T7" fmla="*/ 0 h 75"/>
                <a:gd name="T8" fmla="*/ 52 w 60"/>
                <a:gd name="T9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75">
                  <a:moveTo>
                    <a:pt x="52" y="0"/>
                  </a:moveTo>
                  <a:lnTo>
                    <a:pt x="52" y="0"/>
                  </a:lnTo>
                  <a:cubicBezTo>
                    <a:pt x="44" y="15"/>
                    <a:pt x="0" y="74"/>
                    <a:pt x="59" y="44"/>
                  </a:cubicBezTo>
                  <a:cubicBezTo>
                    <a:pt x="52" y="37"/>
                    <a:pt x="59" y="15"/>
                    <a:pt x="59" y="0"/>
                  </a:cubicBezTo>
                  <a:lnTo>
                    <a:pt x="52" y="0"/>
                  </a:lnTo>
                </a:path>
              </a:pathLst>
            </a:custGeom>
            <a:grpFill/>
            <a:ln w="6350" cap="flat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lIns="60927" tIns="30463" rIns="60927" bIns="30463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37" name="Freeform 29"/>
            <p:cNvSpPr>
              <a:spLocks noChangeArrowheads="1"/>
            </p:cNvSpPr>
            <p:nvPr/>
          </p:nvSpPr>
          <p:spPr bwMode="auto">
            <a:xfrm>
              <a:off x="10169929" y="10488814"/>
              <a:ext cx="1345894" cy="1745070"/>
            </a:xfrm>
            <a:custGeom>
              <a:avLst/>
              <a:gdLst>
                <a:gd name="T0" fmla="*/ 2874 w 3112"/>
                <a:gd name="T1" fmla="*/ 15 h 4041"/>
                <a:gd name="T2" fmla="*/ 2762 w 3112"/>
                <a:gd name="T3" fmla="*/ 208 h 4041"/>
                <a:gd name="T4" fmla="*/ 2502 w 3112"/>
                <a:gd name="T5" fmla="*/ 238 h 4041"/>
                <a:gd name="T6" fmla="*/ 2317 w 3112"/>
                <a:gd name="T7" fmla="*/ 334 h 4041"/>
                <a:gd name="T8" fmla="*/ 2064 w 3112"/>
                <a:gd name="T9" fmla="*/ 334 h 4041"/>
                <a:gd name="T10" fmla="*/ 1804 w 3112"/>
                <a:gd name="T11" fmla="*/ 520 h 4041"/>
                <a:gd name="T12" fmla="*/ 1515 w 3112"/>
                <a:gd name="T13" fmla="*/ 572 h 4041"/>
                <a:gd name="T14" fmla="*/ 1448 w 3112"/>
                <a:gd name="T15" fmla="*/ 549 h 4041"/>
                <a:gd name="T16" fmla="*/ 1173 w 3112"/>
                <a:gd name="T17" fmla="*/ 601 h 4041"/>
                <a:gd name="T18" fmla="*/ 1032 w 3112"/>
                <a:gd name="T19" fmla="*/ 869 h 4041"/>
                <a:gd name="T20" fmla="*/ 1106 w 3112"/>
                <a:gd name="T21" fmla="*/ 1114 h 4041"/>
                <a:gd name="T22" fmla="*/ 794 w 3112"/>
                <a:gd name="T23" fmla="*/ 1277 h 4041"/>
                <a:gd name="T24" fmla="*/ 557 w 3112"/>
                <a:gd name="T25" fmla="*/ 1255 h 4041"/>
                <a:gd name="T26" fmla="*/ 245 w 3112"/>
                <a:gd name="T27" fmla="*/ 1403 h 4041"/>
                <a:gd name="T28" fmla="*/ 155 w 3112"/>
                <a:gd name="T29" fmla="*/ 1337 h 4041"/>
                <a:gd name="T30" fmla="*/ 0 w 3112"/>
                <a:gd name="T31" fmla="*/ 1500 h 4041"/>
                <a:gd name="T32" fmla="*/ 222 w 3112"/>
                <a:gd name="T33" fmla="*/ 1604 h 4041"/>
                <a:gd name="T34" fmla="*/ 349 w 3112"/>
                <a:gd name="T35" fmla="*/ 1842 h 4041"/>
                <a:gd name="T36" fmla="*/ 445 w 3112"/>
                <a:gd name="T37" fmla="*/ 2116 h 4041"/>
                <a:gd name="T38" fmla="*/ 497 w 3112"/>
                <a:gd name="T39" fmla="*/ 2473 h 4041"/>
                <a:gd name="T40" fmla="*/ 675 w 3112"/>
                <a:gd name="T41" fmla="*/ 2540 h 4041"/>
                <a:gd name="T42" fmla="*/ 690 w 3112"/>
                <a:gd name="T43" fmla="*/ 2792 h 4041"/>
                <a:gd name="T44" fmla="*/ 779 w 3112"/>
                <a:gd name="T45" fmla="*/ 3030 h 4041"/>
                <a:gd name="T46" fmla="*/ 675 w 3112"/>
                <a:gd name="T47" fmla="*/ 3446 h 4041"/>
                <a:gd name="T48" fmla="*/ 653 w 3112"/>
                <a:gd name="T49" fmla="*/ 3683 h 4041"/>
                <a:gd name="T50" fmla="*/ 594 w 3112"/>
                <a:gd name="T51" fmla="*/ 3876 h 4041"/>
                <a:gd name="T52" fmla="*/ 690 w 3112"/>
                <a:gd name="T53" fmla="*/ 3980 h 4041"/>
                <a:gd name="T54" fmla="*/ 928 w 3112"/>
                <a:gd name="T55" fmla="*/ 4017 h 4041"/>
                <a:gd name="T56" fmla="*/ 1069 w 3112"/>
                <a:gd name="T57" fmla="*/ 3965 h 4041"/>
                <a:gd name="T58" fmla="*/ 1202 w 3112"/>
                <a:gd name="T59" fmla="*/ 3876 h 4041"/>
                <a:gd name="T60" fmla="*/ 1344 w 3112"/>
                <a:gd name="T61" fmla="*/ 3728 h 4041"/>
                <a:gd name="T62" fmla="*/ 1277 w 3112"/>
                <a:gd name="T63" fmla="*/ 3654 h 4041"/>
                <a:gd name="T64" fmla="*/ 1403 w 3112"/>
                <a:gd name="T65" fmla="*/ 3438 h 4041"/>
                <a:gd name="T66" fmla="*/ 1529 w 3112"/>
                <a:gd name="T67" fmla="*/ 3327 h 4041"/>
                <a:gd name="T68" fmla="*/ 1812 w 3112"/>
                <a:gd name="T69" fmla="*/ 3230 h 4041"/>
                <a:gd name="T70" fmla="*/ 1915 w 3112"/>
                <a:gd name="T71" fmla="*/ 3186 h 4041"/>
                <a:gd name="T72" fmla="*/ 2116 w 3112"/>
                <a:gd name="T73" fmla="*/ 3156 h 4041"/>
                <a:gd name="T74" fmla="*/ 2019 w 3112"/>
                <a:gd name="T75" fmla="*/ 2896 h 4041"/>
                <a:gd name="T76" fmla="*/ 2235 w 3112"/>
                <a:gd name="T77" fmla="*/ 2621 h 4041"/>
                <a:gd name="T78" fmla="*/ 2272 w 3112"/>
                <a:gd name="T79" fmla="*/ 2458 h 4041"/>
                <a:gd name="T80" fmla="*/ 2435 w 3112"/>
                <a:gd name="T81" fmla="*/ 2406 h 4041"/>
                <a:gd name="T82" fmla="*/ 2599 w 3112"/>
                <a:gd name="T83" fmla="*/ 2376 h 4041"/>
                <a:gd name="T84" fmla="*/ 2666 w 3112"/>
                <a:gd name="T85" fmla="*/ 2428 h 4041"/>
                <a:gd name="T86" fmla="*/ 2703 w 3112"/>
                <a:gd name="T87" fmla="*/ 1960 h 4041"/>
                <a:gd name="T88" fmla="*/ 2688 w 3112"/>
                <a:gd name="T89" fmla="*/ 1559 h 4041"/>
                <a:gd name="T90" fmla="*/ 2658 w 3112"/>
                <a:gd name="T91" fmla="*/ 1359 h 4041"/>
                <a:gd name="T92" fmla="*/ 2606 w 3112"/>
                <a:gd name="T93" fmla="*/ 1329 h 4041"/>
                <a:gd name="T94" fmla="*/ 2532 w 3112"/>
                <a:gd name="T95" fmla="*/ 1248 h 4041"/>
                <a:gd name="T96" fmla="*/ 2569 w 3112"/>
                <a:gd name="T97" fmla="*/ 1158 h 4041"/>
                <a:gd name="T98" fmla="*/ 2628 w 3112"/>
                <a:gd name="T99" fmla="*/ 1203 h 4041"/>
                <a:gd name="T100" fmla="*/ 2725 w 3112"/>
                <a:gd name="T101" fmla="*/ 1158 h 4041"/>
                <a:gd name="T102" fmla="*/ 2740 w 3112"/>
                <a:gd name="T103" fmla="*/ 1025 h 4041"/>
                <a:gd name="T104" fmla="*/ 2784 w 3112"/>
                <a:gd name="T105" fmla="*/ 1010 h 4041"/>
                <a:gd name="T106" fmla="*/ 2903 w 3112"/>
                <a:gd name="T107" fmla="*/ 861 h 4041"/>
                <a:gd name="T108" fmla="*/ 2881 w 3112"/>
                <a:gd name="T109" fmla="*/ 750 h 4041"/>
                <a:gd name="T110" fmla="*/ 3044 w 3112"/>
                <a:gd name="T111" fmla="*/ 542 h 4041"/>
                <a:gd name="T112" fmla="*/ 3052 w 3112"/>
                <a:gd name="T113" fmla="*/ 59 h 4041"/>
                <a:gd name="T114" fmla="*/ 2606 w 3112"/>
                <a:gd name="T115" fmla="*/ 1931 h 4041"/>
                <a:gd name="T116" fmla="*/ 2651 w 3112"/>
                <a:gd name="T117" fmla="*/ 2050 h 4041"/>
                <a:gd name="T118" fmla="*/ 2569 w 3112"/>
                <a:gd name="T119" fmla="*/ 1968 h 40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112" h="4041">
                  <a:moveTo>
                    <a:pt x="2896" y="52"/>
                  </a:moveTo>
                  <a:lnTo>
                    <a:pt x="2896" y="52"/>
                  </a:lnTo>
                  <a:cubicBezTo>
                    <a:pt x="2896" y="44"/>
                    <a:pt x="2888" y="30"/>
                    <a:pt x="2888" y="22"/>
                  </a:cubicBezTo>
                  <a:cubicBezTo>
                    <a:pt x="2888" y="15"/>
                    <a:pt x="2881" y="15"/>
                    <a:pt x="2874" y="15"/>
                  </a:cubicBezTo>
                  <a:cubicBezTo>
                    <a:pt x="2874" y="7"/>
                    <a:pt x="2859" y="0"/>
                    <a:pt x="2844" y="7"/>
                  </a:cubicBezTo>
                  <a:cubicBezTo>
                    <a:pt x="2836" y="30"/>
                    <a:pt x="2836" y="52"/>
                    <a:pt x="2836" y="74"/>
                  </a:cubicBezTo>
                  <a:cubicBezTo>
                    <a:pt x="2777" y="67"/>
                    <a:pt x="2792" y="134"/>
                    <a:pt x="2747" y="156"/>
                  </a:cubicBezTo>
                  <a:cubicBezTo>
                    <a:pt x="2740" y="178"/>
                    <a:pt x="2769" y="186"/>
                    <a:pt x="2762" y="208"/>
                  </a:cubicBezTo>
                  <a:cubicBezTo>
                    <a:pt x="2703" y="215"/>
                    <a:pt x="2658" y="193"/>
                    <a:pt x="2658" y="267"/>
                  </a:cubicBezTo>
                  <a:cubicBezTo>
                    <a:pt x="2636" y="267"/>
                    <a:pt x="2614" y="275"/>
                    <a:pt x="2599" y="267"/>
                  </a:cubicBezTo>
                  <a:cubicBezTo>
                    <a:pt x="2606" y="223"/>
                    <a:pt x="2539" y="156"/>
                    <a:pt x="2532" y="230"/>
                  </a:cubicBezTo>
                  <a:cubicBezTo>
                    <a:pt x="2524" y="230"/>
                    <a:pt x="2517" y="238"/>
                    <a:pt x="2502" y="238"/>
                  </a:cubicBezTo>
                  <a:cubicBezTo>
                    <a:pt x="2502" y="186"/>
                    <a:pt x="2495" y="171"/>
                    <a:pt x="2443" y="163"/>
                  </a:cubicBezTo>
                  <a:cubicBezTo>
                    <a:pt x="2398" y="163"/>
                    <a:pt x="2339" y="178"/>
                    <a:pt x="2406" y="201"/>
                  </a:cubicBezTo>
                  <a:cubicBezTo>
                    <a:pt x="2369" y="223"/>
                    <a:pt x="2406" y="267"/>
                    <a:pt x="2369" y="282"/>
                  </a:cubicBezTo>
                  <a:cubicBezTo>
                    <a:pt x="2339" y="290"/>
                    <a:pt x="2331" y="297"/>
                    <a:pt x="2317" y="334"/>
                  </a:cubicBezTo>
                  <a:cubicBezTo>
                    <a:pt x="2294" y="379"/>
                    <a:pt x="2257" y="267"/>
                    <a:pt x="2250" y="364"/>
                  </a:cubicBezTo>
                  <a:cubicBezTo>
                    <a:pt x="2235" y="356"/>
                    <a:pt x="2227" y="364"/>
                    <a:pt x="2220" y="364"/>
                  </a:cubicBezTo>
                  <a:cubicBezTo>
                    <a:pt x="2220" y="401"/>
                    <a:pt x="2175" y="401"/>
                    <a:pt x="2146" y="401"/>
                  </a:cubicBezTo>
                  <a:cubicBezTo>
                    <a:pt x="2109" y="394"/>
                    <a:pt x="2101" y="349"/>
                    <a:pt x="2064" y="334"/>
                  </a:cubicBezTo>
                  <a:cubicBezTo>
                    <a:pt x="1982" y="319"/>
                    <a:pt x="1878" y="341"/>
                    <a:pt x="1804" y="371"/>
                  </a:cubicBezTo>
                  <a:cubicBezTo>
                    <a:pt x="1804" y="386"/>
                    <a:pt x="1797" y="409"/>
                    <a:pt x="1804" y="423"/>
                  </a:cubicBezTo>
                  <a:cubicBezTo>
                    <a:pt x="1804" y="423"/>
                    <a:pt x="1804" y="423"/>
                    <a:pt x="1812" y="423"/>
                  </a:cubicBezTo>
                  <a:cubicBezTo>
                    <a:pt x="1812" y="453"/>
                    <a:pt x="1812" y="490"/>
                    <a:pt x="1804" y="520"/>
                  </a:cubicBezTo>
                  <a:cubicBezTo>
                    <a:pt x="1767" y="512"/>
                    <a:pt x="1745" y="587"/>
                    <a:pt x="1722" y="609"/>
                  </a:cubicBezTo>
                  <a:cubicBezTo>
                    <a:pt x="1685" y="639"/>
                    <a:pt x="1648" y="691"/>
                    <a:pt x="1596" y="661"/>
                  </a:cubicBezTo>
                  <a:cubicBezTo>
                    <a:pt x="1574" y="654"/>
                    <a:pt x="1529" y="631"/>
                    <a:pt x="1522" y="609"/>
                  </a:cubicBezTo>
                  <a:cubicBezTo>
                    <a:pt x="1515" y="601"/>
                    <a:pt x="1522" y="579"/>
                    <a:pt x="1515" y="572"/>
                  </a:cubicBezTo>
                  <a:cubicBezTo>
                    <a:pt x="1507" y="601"/>
                    <a:pt x="1500" y="631"/>
                    <a:pt x="1500" y="639"/>
                  </a:cubicBezTo>
                  <a:cubicBezTo>
                    <a:pt x="1500" y="631"/>
                    <a:pt x="1507" y="601"/>
                    <a:pt x="1515" y="572"/>
                  </a:cubicBezTo>
                  <a:cubicBezTo>
                    <a:pt x="1507" y="572"/>
                    <a:pt x="1507" y="564"/>
                    <a:pt x="1507" y="564"/>
                  </a:cubicBezTo>
                  <a:cubicBezTo>
                    <a:pt x="1485" y="557"/>
                    <a:pt x="1462" y="557"/>
                    <a:pt x="1448" y="549"/>
                  </a:cubicBezTo>
                  <a:cubicBezTo>
                    <a:pt x="1425" y="535"/>
                    <a:pt x="1418" y="512"/>
                    <a:pt x="1396" y="498"/>
                  </a:cubicBezTo>
                  <a:cubicBezTo>
                    <a:pt x="1351" y="483"/>
                    <a:pt x="1351" y="572"/>
                    <a:pt x="1307" y="512"/>
                  </a:cubicBezTo>
                  <a:cubicBezTo>
                    <a:pt x="1292" y="490"/>
                    <a:pt x="1202" y="468"/>
                    <a:pt x="1195" y="498"/>
                  </a:cubicBezTo>
                  <a:cubicBezTo>
                    <a:pt x="1188" y="535"/>
                    <a:pt x="1188" y="572"/>
                    <a:pt x="1173" y="601"/>
                  </a:cubicBezTo>
                  <a:cubicBezTo>
                    <a:pt x="1151" y="646"/>
                    <a:pt x="1069" y="631"/>
                    <a:pt x="1032" y="631"/>
                  </a:cubicBezTo>
                  <a:cubicBezTo>
                    <a:pt x="1032" y="668"/>
                    <a:pt x="1039" y="720"/>
                    <a:pt x="1024" y="750"/>
                  </a:cubicBezTo>
                  <a:cubicBezTo>
                    <a:pt x="1032" y="750"/>
                    <a:pt x="1039" y="757"/>
                    <a:pt x="1047" y="750"/>
                  </a:cubicBezTo>
                  <a:cubicBezTo>
                    <a:pt x="1047" y="795"/>
                    <a:pt x="1054" y="839"/>
                    <a:pt x="1032" y="869"/>
                  </a:cubicBezTo>
                  <a:cubicBezTo>
                    <a:pt x="1010" y="891"/>
                    <a:pt x="957" y="921"/>
                    <a:pt x="935" y="943"/>
                  </a:cubicBezTo>
                  <a:cubicBezTo>
                    <a:pt x="972" y="988"/>
                    <a:pt x="1113" y="943"/>
                    <a:pt x="1136" y="1003"/>
                  </a:cubicBezTo>
                  <a:cubicBezTo>
                    <a:pt x="1143" y="1032"/>
                    <a:pt x="1136" y="1062"/>
                    <a:pt x="1128" y="1091"/>
                  </a:cubicBezTo>
                  <a:cubicBezTo>
                    <a:pt x="1128" y="1106"/>
                    <a:pt x="1113" y="1106"/>
                    <a:pt x="1106" y="1114"/>
                  </a:cubicBezTo>
                  <a:cubicBezTo>
                    <a:pt x="1084" y="1129"/>
                    <a:pt x="1084" y="1151"/>
                    <a:pt x="1084" y="1173"/>
                  </a:cubicBezTo>
                  <a:cubicBezTo>
                    <a:pt x="1039" y="1173"/>
                    <a:pt x="980" y="1158"/>
                    <a:pt x="943" y="1196"/>
                  </a:cubicBezTo>
                  <a:cubicBezTo>
                    <a:pt x="913" y="1225"/>
                    <a:pt x="913" y="1270"/>
                    <a:pt x="905" y="1307"/>
                  </a:cubicBezTo>
                  <a:cubicBezTo>
                    <a:pt x="876" y="1307"/>
                    <a:pt x="824" y="1277"/>
                    <a:pt x="794" y="1277"/>
                  </a:cubicBezTo>
                  <a:cubicBezTo>
                    <a:pt x="750" y="1262"/>
                    <a:pt x="712" y="1255"/>
                    <a:pt x="668" y="1270"/>
                  </a:cubicBezTo>
                  <a:cubicBezTo>
                    <a:pt x="668" y="1277"/>
                    <a:pt x="668" y="1292"/>
                    <a:pt x="660" y="1300"/>
                  </a:cubicBezTo>
                  <a:cubicBezTo>
                    <a:pt x="638" y="1307"/>
                    <a:pt x="631" y="1277"/>
                    <a:pt x="623" y="1262"/>
                  </a:cubicBezTo>
                  <a:cubicBezTo>
                    <a:pt x="601" y="1248"/>
                    <a:pt x="579" y="1255"/>
                    <a:pt x="557" y="1255"/>
                  </a:cubicBezTo>
                  <a:cubicBezTo>
                    <a:pt x="512" y="1262"/>
                    <a:pt x="475" y="1292"/>
                    <a:pt x="467" y="1337"/>
                  </a:cubicBezTo>
                  <a:cubicBezTo>
                    <a:pt x="453" y="1389"/>
                    <a:pt x="453" y="1403"/>
                    <a:pt x="386" y="1396"/>
                  </a:cubicBezTo>
                  <a:cubicBezTo>
                    <a:pt x="363" y="1389"/>
                    <a:pt x="334" y="1389"/>
                    <a:pt x="304" y="1389"/>
                  </a:cubicBezTo>
                  <a:cubicBezTo>
                    <a:pt x="289" y="1396"/>
                    <a:pt x="267" y="1411"/>
                    <a:pt x="245" y="1403"/>
                  </a:cubicBezTo>
                  <a:cubicBezTo>
                    <a:pt x="252" y="1403"/>
                    <a:pt x="245" y="1344"/>
                    <a:pt x="237" y="1337"/>
                  </a:cubicBezTo>
                  <a:cubicBezTo>
                    <a:pt x="215" y="1322"/>
                    <a:pt x="178" y="1329"/>
                    <a:pt x="155" y="1337"/>
                  </a:cubicBezTo>
                  <a:cubicBezTo>
                    <a:pt x="155" y="1366"/>
                    <a:pt x="163" y="1411"/>
                    <a:pt x="163" y="1411"/>
                  </a:cubicBezTo>
                  <a:cubicBezTo>
                    <a:pt x="163" y="1411"/>
                    <a:pt x="155" y="1366"/>
                    <a:pt x="155" y="1337"/>
                  </a:cubicBezTo>
                  <a:cubicBezTo>
                    <a:pt x="155" y="1337"/>
                    <a:pt x="155" y="1337"/>
                    <a:pt x="148" y="1337"/>
                  </a:cubicBezTo>
                  <a:cubicBezTo>
                    <a:pt x="148" y="1389"/>
                    <a:pt x="89" y="1359"/>
                    <a:pt x="89" y="1411"/>
                  </a:cubicBezTo>
                  <a:cubicBezTo>
                    <a:pt x="52" y="1418"/>
                    <a:pt x="37" y="1389"/>
                    <a:pt x="7" y="1381"/>
                  </a:cubicBezTo>
                  <a:cubicBezTo>
                    <a:pt x="0" y="1418"/>
                    <a:pt x="0" y="1463"/>
                    <a:pt x="0" y="1500"/>
                  </a:cubicBezTo>
                  <a:cubicBezTo>
                    <a:pt x="29" y="1500"/>
                    <a:pt x="52" y="1493"/>
                    <a:pt x="74" y="1515"/>
                  </a:cubicBezTo>
                  <a:cubicBezTo>
                    <a:pt x="96" y="1530"/>
                    <a:pt x="118" y="1522"/>
                    <a:pt x="133" y="1537"/>
                  </a:cubicBezTo>
                  <a:cubicBezTo>
                    <a:pt x="155" y="1545"/>
                    <a:pt x="155" y="1567"/>
                    <a:pt x="178" y="1574"/>
                  </a:cubicBezTo>
                  <a:cubicBezTo>
                    <a:pt x="193" y="1582"/>
                    <a:pt x="222" y="1582"/>
                    <a:pt x="222" y="1604"/>
                  </a:cubicBezTo>
                  <a:cubicBezTo>
                    <a:pt x="200" y="1611"/>
                    <a:pt x="148" y="1686"/>
                    <a:pt x="148" y="1708"/>
                  </a:cubicBezTo>
                  <a:cubicBezTo>
                    <a:pt x="141" y="1708"/>
                    <a:pt x="141" y="1708"/>
                    <a:pt x="133" y="1708"/>
                  </a:cubicBezTo>
                  <a:cubicBezTo>
                    <a:pt x="193" y="1708"/>
                    <a:pt x="267" y="1686"/>
                    <a:pt x="319" y="1715"/>
                  </a:cubicBezTo>
                  <a:cubicBezTo>
                    <a:pt x="363" y="1738"/>
                    <a:pt x="349" y="1797"/>
                    <a:pt x="349" y="1842"/>
                  </a:cubicBezTo>
                  <a:cubicBezTo>
                    <a:pt x="334" y="1842"/>
                    <a:pt x="326" y="1842"/>
                    <a:pt x="311" y="1842"/>
                  </a:cubicBezTo>
                  <a:cubicBezTo>
                    <a:pt x="297" y="1864"/>
                    <a:pt x="311" y="1901"/>
                    <a:pt x="304" y="1923"/>
                  </a:cubicBezTo>
                  <a:cubicBezTo>
                    <a:pt x="326" y="1923"/>
                    <a:pt x="415" y="1968"/>
                    <a:pt x="430" y="1990"/>
                  </a:cubicBezTo>
                  <a:cubicBezTo>
                    <a:pt x="460" y="2027"/>
                    <a:pt x="453" y="2079"/>
                    <a:pt x="445" y="2116"/>
                  </a:cubicBezTo>
                  <a:cubicBezTo>
                    <a:pt x="415" y="2139"/>
                    <a:pt x="423" y="2191"/>
                    <a:pt x="415" y="2228"/>
                  </a:cubicBezTo>
                  <a:cubicBezTo>
                    <a:pt x="408" y="2265"/>
                    <a:pt x="400" y="2302"/>
                    <a:pt x="408" y="2339"/>
                  </a:cubicBezTo>
                  <a:cubicBezTo>
                    <a:pt x="415" y="2369"/>
                    <a:pt x="415" y="2406"/>
                    <a:pt x="438" y="2421"/>
                  </a:cubicBezTo>
                  <a:cubicBezTo>
                    <a:pt x="460" y="2436"/>
                    <a:pt x="497" y="2436"/>
                    <a:pt x="497" y="2473"/>
                  </a:cubicBezTo>
                  <a:cubicBezTo>
                    <a:pt x="505" y="2473"/>
                    <a:pt x="512" y="2473"/>
                    <a:pt x="519" y="2465"/>
                  </a:cubicBezTo>
                  <a:cubicBezTo>
                    <a:pt x="519" y="2413"/>
                    <a:pt x="571" y="2428"/>
                    <a:pt x="594" y="2391"/>
                  </a:cubicBezTo>
                  <a:cubicBezTo>
                    <a:pt x="616" y="2369"/>
                    <a:pt x="668" y="2361"/>
                    <a:pt x="698" y="2376"/>
                  </a:cubicBezTo>
                  <a:cubicBezTo>
                    <a:pt x="735" y="2399"/>
                    <a:pt x="742" y="2547"/>
                    <a:pt x="675" y="2540"/>
                  </a:cubicBezTo>
                  <a:cubicBezTo>
                    <a:pt x="675" y="2562"/>
                    <a:pt x="690" y="2569"/>
                    <a:pt x="683" y="2592"/>
                  </a:cubicBezTo>
                  <a:cubicBezTo>
                    <a:pt x="794" y="2607"/>
                    <a:pt x="668" y="2696"/>
                    <a:pt x="683" y="2748"/>
                  </a:cubicBezTo>
                  <a:cubicBezTo>
                    <a:pt x="683" y="2748"/>
                    <a:pt x="683" y="2748"/>
                    <a:pt x="690" y="2748"/>
                  </a:cubicBezTo>
                  <a:cubicBezTo>
                    <a:pt x="690" y="2762"/>
                    <a:pt x="690" y="2777"/>
                    <a:pt x="690" y="2792"/>
                  </a:cubicBezTo>
                  <a:cubicBezTo>
                    <a:pt x="638" y="2807"/>
                    <a:pt x="675" y="2918"/>
                    <a:pt x="631" y="2918"/>
                  </a:cubicBezTo>
                  <a:cubicBezTo>
                    <a:pt x="668" y="2926"/>
                    <a:pt x="683" y="2970"/>
                    <a:pt x="720" y="2963"/>
                  </a:cubicBezTo>
                  <a:cubicBezTo>
                    <a:pt x="735" y="2948"/>
                    <a:pt x="742" y="2926"/>
                    <a:pt x="772" y="2933"/>
                  </a:cubicBezTo>
                  <a:cubicBezTo>
                    <a:pt x="765" y="2978"/>
                    <a:pt x="824" y="3000"/>
                    <a:pt x="779" y="3030"/>
                  </a:cubicBezTo>
                  <a:cubicBezTo>
                    <a:pt x="757" y="3045"/>
                    <a:pt x="742" y="3119"/>
                    <a:pt x="742" y="3149"/>
                  </a:cubicBezTo>
                  <a:cubicBezTo>
                    <a:pt x="683" y="3134"/>
                    <a:pt x="690" y="3267"/>
                    <a:pt x="668" y="3305"/>
                  </a:cubicBezTo>
                  <a:cubicBezTo>
                    <a:pt x="653" y="3334"/>
                    <a:pt x="608" y="3334"/>
                    <a:pt x="616" y="3364"/>
                  </a:cubicBezTo>
                  <a:cubicBezTo>
                    <a:pt x="623" y="3394"/>
                    <a:pt x="653" y="3446"/>
                    <a:pt x="675" y="3446"/>
                  </a:cubicBezTo>
                  <a:cubicBezTo>
                    <a:pt x="683" y="3475"/>
                    <a:pt x="683" y="3505"/>
                    <a:pt x="675" y="3527"/>
                  </a:cubicBezTo>
                  <a:cubicBezTo>
                    <a:pt x="646" y="3527"/>
                    <a:pt x="616" y="3564"/>
                    <a:pt x="616" y="3587"/>
                  </a:cubicBezTo>
                  <a:cubicBezTo>
                    <a:pt x="608" y="3624"/>
                    <a:pt x="646" y="3646"/>
                    <a:pt x="646" y="3683"/>
                  </a:cubicBezTo>
                  <a:cubicBezTo>
                    <a:pt x="653" y="3683"/>
                    <a:pt x="653" y="3683"/>
                    <a:pt x="653" y="3683"/>
                  </a:cubicBezTo>
                  <a:cubicBezTo>
                    <a:pt x="668" y="3728"/>
                    <a:pt x="683" y="3787"/>
                    <a:pt x="616" y="3757"/>
                  </a:cubicBezTo>
                  <a:cubicBezTo>
                    <a:pt x="616" y="3772"/>
                    <a:pt x="616" y="3787"/>
                    <a:pt x="616" y="3802"/>
                  </a:cubicBezTo>
                  <a:cubicBezTo>
                    <a:pt x="608" y="3802"/>
                    <a:pt x="608" y="3809"/>
                    <a:pt x="601" y="3802"/>
                  </a:cubicBezTo>
                  <a:cubicBezTo>
                    <a:pt x="601" y="3832"/>
                    <a:pt x="601" y="3854"/>
                    <a:pt x="594" y="3876"/>
                  </a:cubicBezTo>
                  <a:cubicBezTo>
                    <a:pt x="594" y="3884"/>
                    <a:pt x="586" y="3884"/>
                    <a:pt x="579" y="3884"/>
                  </a:cubicBezTo>
                  <a:cubicBezTo>
                    <a:pt x="579" y="3884"/>
                    <a:pt x="571" y="3891"/>
                    <a:pt x="564" y="3891"/>
                  </a:cubicBezTo>
                  <a:cubicBezTo>
                    <a:pt x="571" y="3906"/>
                    <a:pt x="579" y="3921"/>
                    <a:pt x="594" y="3936"/>
                  </a:cubicBezTo>
                  <a:cubicBezTo>
                    <a:pt x="616" y="3951"/>
                    <a:pt x="660" y="3965"/>
                    <a:pt x="690" y="3980"/>
                  </a:cubicBezTo>
                  <a:cubicBezTo>
                    <a:pt x="735" y="3995"/>
                    <a:pt x="779" y="4017"/>
                    <a:pt x="824" y="4032"/>
                  </a:cubicBezTo>
                  <a:cubicBezTo>
                    <a:pt x="846" y="4032"/>
                    <a:pt x="868" y="4032"/>
                    <a:pt x="891" y="4032"/>
                  </a:cubicBezTo>
                  <a:cubicBezTo>
                    <a:pt x="898" y="4032"/>
                    <a:pt x="905" y="4040"/>
                    <a:pt x="913" y="4032"/>
                  </a:cubicBezTo>
                  <a:cubicBezTo>
                    <a:pt x="913" y="4032"/>
                    <a:pt x="920" y="4017"/>
                    <a:pt x="928" y="4017"/>
                  </a:cubicBezTo>
                  <a:lnTo>
                    <a:pt x="928" y="4017"/>
                  </a:lnTo>
                  <a:cubicBezTo>
                    <a:pt x="935" y="4010"/>
                    <a:pt x="935" y="3988"/>
                    <a:pt x="957" y="3980"/>
                  </a:cubicBezTo>
                  <a:cubicBezTo>
                    <a:pt x="965" y="3973"/>
                    <a:pt x="987" y="3980"/>
                    <a:pt x="1002" y="3980"/>
                  </a:cubicBezTo>
                  <a:cubicBezTo>
                    <a:pt x="1024" y="3980"/>
                    <a:pt x="1047" y="3973"/>
                    <a:pt x="1069" y="3965"/>
                  </a:cubicBezTo>
                  <a:cubicBezTo>
                    <a:pt x="1076" y="3958"/>
                    <a:pt x="1091" y="3951"/>
                    <a:pt x="1099" y="3943"/>
                  </a:cubicBezTo>
                  <a:cubicBezTo>
                    <a:pt x="1106" y="3921"/>
                    <a:pt x="1113" y="3906"/>
                    <a:pt x="1128" y="3891"/>
                  </a:cubicBezTo>
                  <a:cubicBezTo>
                    <a:pt x="1143" y="3884"/>
                    <a:pt x="1165" y="3884"/>
                    <a:pt x="1173" y="3876"/>
                  </a:cubicBezTo>
                  <a:cubicBezTo>
                    <a:pt x="1180" y="3876"/>
                    <a:pt x="1195" y="3876"/>
                    <a:pt x="1202" y="3876"/>
                  </a:cubicBezTo>
                  <a:cubicBezTo>
                    <a:pt x="1210" y="3876"/>
                    <a:pt x="1217" y="3862"/>
                    <a:pt x="1232" y="3862"/>
                  </a:cubicBezTo>
                  <a:cubicBezTo>
                    <a:pt x="1255" y="3847"/>
                    <a:pt x="1270" y="3847"/>
                    <a:pt x="1292" y="3824"/>
                  </a:cubicBezTo>
                  <a:cubicBezTo>
                    <a:pt x="1307" y="3809"/>
                    <a:pt x="1321" y="3787"/>
                    <a:pt x="1329" y="3765"/>
                  </a:cubicBezTo>
                  <a:cubicBezTo>
                    <a:pt x="1336" y="3750"/>
                    <a:pt x="1336" y="3735"/>
                    <a:pt x="1344" y="3728"/>
                  </a:cubicBezTo>
                  <a:cubicBezTo>
                    <a:pt x="1358" y="3713"/>
                    <a:pt x="1358" y="3713"/>
                    <a:pt x="1366" y="3698"/>
                  </a:cubicBezTo>
                  <a:cubicBezTo>
                    <a:pt x="1366" y="3691"/>
                    <a:pt x="1366" y="3661"/>
                    <a:pt x="1366" y="3654"/>
                  </a:cubicBezTo>
                  <a:cubicBezTo>
                    <a:pt x="1358" y="3646"/>
                    <a:pt x="1329" y="3646"/>
                    <a:pt x="1329" y="3654"/>
                  </a:cubicBezTo>
                  <a:cubicBezTo>
                    <a:pt x="1314" y="3654"/>
                    <a:pt x="1292" y="3654"/>
                    <a:pt x="1277" y="3654"/>
                  </a:cubicBezTo>
                  <a:cubicBezTo>
                    <a:pt x="1284" y="3624"/>
                    <a:pt x="1344" y="3639"/>
                    <a:pt x="1358" y="3639"/>
                  </a:cubicBezTo>
                  <a:cubicBezTo>
                    <a:pt x="1366" y="3617"/>
                    <a:pt x="1366" y="3602"/>
                    <a:pt x="1381" y="3587"/>
                  </a:cubicBezTo>
                  <a:cubicBezTo>
                    <a:pt x="1388" y="3579"/>
                    <a:pt x="1403" y="3564"/>
                    <a:pt x="1403" y="3550"/>
                  </a:cubicBezTo>
                  <a:cubicBezTo>
                    <a:pt x="1410" y="3512"/>
                    <a:pt x="1403" y="3475"/>
                    <a:pt x="1403" y="3438"/>
                  </a:cubicBezTo>
                  <a:cubicBezTo>
                    <a:pt x="1410" y="3423"/>
                    <a:pt x="1410" y="3386"/>
                    <a:pt x="1425" y="3371"/>
                  </a:cubicBezTo>
                  <a:cubicBezTo>
                    <a:pt x="1433" y="3364"/>
                    <a:pt x="1440" y="3371"/>
                    <a:pt x="1448" y="3364"/>
                  </a:cubicBezTo>
                  <a:cubicBezTo>
                    <a:pt x="1462" y="3364"/>
                    <a:pt x="1462" y="3357"/>
                    <a:pt x="1477" y="3349"/>
                  </a:cubicBezTo>
                  <a:cubicBezTo>
                    <a:pt x="1492" y="3334"/>
                    <a:pt x="1515" y="3342"/>
                    <a:pt x="1529" y="3327"/>
                  </a:cubicBezTo>
                  <a:cubicBezTo>
                    <a:pt x="1544" y="3312"/>
                    <a:pt x="1552" y="3290"/>
                    <a:pt x="1567" y="3282"/>
                  </a:cubicBezTo>
                  <a:cubicBezTo>
                    <a:pt x="1581" y="3267"/>
                    <a:pt x="1611" y="3267"/>
                    <a:pt x="1633" y="3267"/>
                  </a:cubicBezTo>
                  <a:cubicBezTo>
                    <a:pt x="1678" y="3260"/>
                    <a:pt x="1730" y="3252"/>
                    <a:pt x="1774" y="3238"/>
                  </a:cubicBezTo>
                  <a:cubicBezTo>
                    <a:pt x="1789" y="3230"/>
                    <a:pt x="1797" y="3230"/>
                    <a:pt x="1812" y="3230"/>
                  </a:cubicBezTo>
                  <a:cubicBezTo>
                    <a:pt x="1812" y="3230"/>
                    <a:pt x="1819" y="3223"/>
                    <a:pt x="1819" y="3215"/>
                  </a:cubicBezTo>
                  <a:cubicBezTo>
                    <a:pt x="1826" y="3208"/>
                    <a:pt x="1849" y="3208"/>
                    <a:pt x="1864" y="3208"/>
                  </a:cubicBezTo>
                  <a:cubicBezTo>
                    <a:pt x="1871" y="3193"/>
                    <a:pt x="1871" y="3193"/>
                    <a:pt x="1886" y="3186"/>
                  </a:cubicBezTo>
                  <a:cubicBezTo>
                    <a:pt x="1893" y="3186"/>
                    <a:pt x="1908" y="3186"/>
                    <a:pt x="1915" y="3186"/>
                  </a:cubicBezTo>
                  <a:cubicBezTo>
                    <a:pt x="1953" y="3171"/>
                    <a:pt x="1990" y="3163"/>
                    <a:pt x="2034" y="3171"/>
                  </a:cubicBezTo>
                  <a:cubicBezTo>
                    <a:pt x="2057" y="3171"/>
                    <a:pt x="2079" y="3178"/>
                    <a:pt x="2109" y="3178"/>
                  </a:cubicBezTo>
                  <a:cubicBezTo>
                    <a:pt x="2123" y="3178"/>
                    <a:pt x="2131" y="3171"/>
                    <a:pt x="2146" y="3163"/>
                  </a:cubicBezTo>
                  <a:cubicBezTo>
                    <a:pt x="2138" y="3163"/>
                    <a:pt x="2123" y="3156"/>
                    <a:pt x="2116" y="3156"/>
                  </a:cubicBezTo>
                  <a:cubicBezTo>
                    <a:pt x="2116" y="3149"/>
                    <a:pt x="2109" y="3141"/>
                    <a:pt x="2101" y="3134"/>
                  </a:cubicBezTo>
                  <a:cubicBezTo>
                    <a:pt x="2094" y="3134"/>
                    <a:pt x="2086" y="3134"/>
                    <a:pt x="2079" y="3126"/>
                  </a:cubicBezTo>
                  <a:cubicBezTo>
                    <a:pt x="2057" y="3112"/>
                    <a:pt x="2042" y="3104"/>
                    <a:pt x="2019" y="3097"/>
                  </a:cubicBezTo>
                  <a:cubicBezTo>
                    <a:pt x="1945" y="3060"/>
                    <a:pt x="1990" y="2948"/>
                    <a:pt x="2019" y="2896"/>
                  </a:cubicBezTo>
                  <a:cubicBezTo>
                    <a:pt x="2034" y="2859"/>
                    <a:pt x="2072" y="2844"/>
                    <a:pt x="2086" y="2815"/>
                  </a:cubicBezTo>
                  <a:cubicBezTo>
                    <a:pt x="2094" y="2785"/>
                    <a:pt x="2109" y="2762"/>
                    <a:pt x="2138" y="2748"/>
                  </a:cubicBezTo>
                  <a:cubicBezTo>
                    <a:pt x="2138" y="2703"/>
                    <a:pt x="2183" y="2681"/>
                    <a:pt x="2212" y="2651"/>
                  </a:cubicBezTo>
                  <a:cubicBezTo>
                    <a:pt x="2220" y="2636"/>
                    <a:pt x="2227" y="2629"/>
                    <a:pt x="2235" y="2621"/>
                  </a:cubicBezTo>
                  <a:cubicBezTo>
                    <a:pt x="2242" y="2614"/>
                    <a:pt x="2250" y="2614"/>
                    <a:pt x="2257" y="2607"/>
                  </a:cubicBezTo>
                  <a:cubicBezTo>
                    <a:pt x="2287" y="2584"/>
                    <a:pt x="2257" y="2584"/>
                    <a:pt x="2242" y="2577"/>
                  </a:cubicBezTo>
                  <a:cubicBezTo>
                    <a:pt x="2242" y="2562"/>
                    <a:pt x="2242" y="2488"/>
                    <a:pt x="2264" y="2495"/>
                  </a:cubicBezTo>
                  <a:cubicBezTo>
                    <a:pt x="2264" y="2480"/>
                    <a:pt x="2264" y="2465"/>
                    <a:pt x="2272" y="2458"/>
                  </a:cubicBezTo>
                  <a:cubicBezTo>
                    <a:pt x="2279" y="2443"/>
                    <a:pt x="2309" y="2413"/>
                    <a:pt x="2324" y="2406"/>
                  </a:cubicBezTo>
                  <a:cubicBezTo>
                    <a:pt x="2339" y="2399"/>
                    <a:pt x="2361" y="2399"/>
                    <a:pt x="2376" y="2399"/>
                  </a:cubicBezTo>
                  <a:cubicBezTo>
                    <a:pt x="2391" y="2399"/>
                    <a:pt x="2406" y="2399"/>
                    <a:pt x="2413" y="2399"/>
                  </a:cubicBezTo>
                  <a:cubicBezTo>
                    <a:pt x="2420" y="2406"/>
                    <a:pt x="2428" y="2406"/>
                    <a:pt x="2435" y="2406"/>
                  </a:cubicBezTo>
                  <a:cubicBezTo>
                    <a:pt x="2458" y="2399"/>
                    <a:pt x="2472" y="2421"/>
                    <a:pt x="2495" y="2413"/>
                  </a:cubicBezTo>
                  <a:cubicBezTo>
                    <a:pt x="2487" y="2399"/>
                    <a:pt x="2487" y="2384"/>
                    <a:pt x="2480" y="2376"/>
                  </a:cubicBezTo>
                  <a:cubicBezTo>
                    <a:pt x="2487" y="2369"/>
                    <a:pt x="2495" y="2369"/>
                    <a:pt x="2509" y="2369"/>
                  </a:cubicBezTo>
                  <a:cubicBezTo>
                    <a:pt x="2539" y="2369"/>
                    <a:pt x="2569" y="2376"/>
                    <a:pt x="2599" y="2376"/>
                  </a:cubicBezTo>
                  <a:cubicBezTo>
                    <a:pt x="2606" y="2376"/>
                    <a:pt x="2621" y="2376"/>
                    <a:pt x="2628" y="2376"/>
                  </a:cubicBezTo>
                  <a:cubicBezTo>
                    <a:pt x="2636" y="2384"/>
                    <a:pt x="2643" y="2391"/>
                    <a:pt x="2658" y="2391"/>
                  </a:cubicBezTo>
                  <a:cubicBezTo>
                    <a:pt x="2666" y="2391"/>
                    <a:pt x="2680" y="2384"/>
                    <a:pt x="2688" y="2391"/>
                  </a:cubicBezTo>
                  <a:cubicBezTo>
                    <a:pt x="2703" y="2399"/>
                    <a:pt x="2673" y="2421"/>
                    <a:pt x="2666" y="2428"/>
                  </a:cubicBezTo>
                  <a:cubicBezTo>
                    <a:pt x="2673" y="2428"/>
                    <a:pt x="2680" y="2428"/>
                    <a:pt x="2688" y="2428"/>
                  </a:cubicBezTo>
                  <a:cubicBezTo>
                    <a:pt x="2717" y="2361"/>
                    <a:pt x="2717" y="2361"/>
                    <a:pt x="2717" y="2361"/>
                  </a:cubicBezTo>
                  <a:cubicBezTo>
                    <a:pt x="2717" y="2317"/>
                    <a:pt x="2717" y="2272"/>
                    <a:pt x="2717" y="2228"/>
                  </a:cubicBezTo>
                  <a:cubicBezTo>
                    <a:pt x="2710" y="2139"/>
                    <a:pt x="2703" y="2050"/>
                    <a:pt x="2703" y="1960"/>
                  </a:cubicBezTo>
                  <a:cubicBezTo>
                    <a:pt x="2703" y="1886"/>
                    <a:pt x="2703" y="1812"/>
                    <a:pt x="2703" y="1730"/>
                  </a:cubicBezTo>
                  <a:cubicBezTo>
                    <a:pt x="2703" y="1693"/>
                    <a:pt x="2703" y="1648"/>
                    <a:pt x="2695" y="1611"/>
                  </a:cubicBezTo>
                  <a:cubicBezTo>
                    <a:pt x="2695" y="1604"/>
                    <a:pt x="2688" y="1604"/>
                    <a:pt x="2688" y="1597"/>
                  </a:cubicBezTo>
                  <a:cubicBezTo>
                    <a:pt x="2688" y="1582"/>
                    <a:pt x="2688" y="1567"/>
                    <a:pt x="2688" y="1559"/>
                  </a:cubicBezTo>
                  <a:cubicBezTo>
                    <a:pt x="2688" y="1545"/>
                    <a:pt x="2680" y="1545"/>
                    <a:pt x="2673" y="1537"/>
                  </a:cubicBezTo>
                  <a:cubicBezTo>
                    <a:pt x="2651" y="1500"/>
                    <a:pt x="2666" y="1426"/>
                    <a:pt x="2673" y="1389"/>
                  </a:cubicBezTo>
                  <a:cubicBezTo>
                    <a:pt x="2680" y="1381"/>
                    <a:pt x="2680" y="1366"/>
                    <a:pt x="2680" y="1359"/>
                  </a:cubicBezTo>
                  <a:cubicBezTo>
                    <a:pt x="2673" y="1359"/>
                    <a:pt x="2666" y="1351"/>
                    <a:pt x="2658" y="1359"/>
                  </a:cubicBezTo>
                  <a:cubicBezTo>
                    <a:pt x="2651" y="1359"/>
                    <a:pt x="2643" y="1359"/>
                    <a:pt x="2643" y="1359"/>
                  </a:cubicBezTo>
                  <a:cubicBezTo>
                    <a:pt x="2636" y="1359"/>
                    <a:pt x="2628" y="1359"/>
                    <a:pt x="2628" y="1359"/>
                  </a:cubicBezTo>
                  <a:lnTo>
                    <a:pt x="2621" y="1344"/>
                  </a:lnTo>
                  <a:cubicBezTo>
                    <a:pt x="2621" y="1337"/>
                    <a:pt x="2614" y="1329"/>
                    <a:pt x="2606" y="1329"/>
                  </a:cubicBezTo>
                  <a:cubicBezTo>
                    <a:pt x="2606" y="1344"/>
                    <a:pt x="2576" y="1344"/>
                    <a:pt x="2576" y="1329"/>
                  </a:cubicBezTo>
                  <a:cubicBezTo>
                    <a:pt x="2562" y="1329"/>
                    <a:pt x="2554" y="1322"/>
                    <a:pt x="2539" y="1314"/>
                  </a:cubicBezTo>
                  <a:cubicBezTo>
                    <a:pt x="2562" y="1285"/>
                    <a:pt x="2502" y="1262"/>
                    <a:pt x="2480" y="1262"/>
                  </a:cubicBezTo>
                  <a:cubicBezTo>
                    <a:pt x="2487" y="1240"/>
                    <a:pt x="2532" y="1248"/>
                    <a:pt x="2532" y="1248"/>
                  </a:cubicBezTo>
                  <a:cubicBezTo>
                    <a:pt x="2539" y="1225"/>
                    <a:pt x="2524" y="1211"/>
                    <a:pt x="2547" y="1203"/>
                  </a:cubicBezTo>
                  <a:cubicBezTo>
                    <a:pt x="2547" y="1196"/>
                    <a:pt x="2547" y="1196"/>
                    <a:pt x="2547" y="1188"/>
                  </a:cubicBezTo>
                  <a:cubicBezTo>
                    <a:pt x="2524" y="1188"/>
                    <a:pt x="2517" y="1173"/>
                    <a:pt x="2524" y="1158"/>
                  </a:cubicBezTo>
                  <a:cubicBezTo>
                    <a:pt x="2539" y="1158"/>
                    <a:pt x="2562" y="1144"/>
                    <a:pt x="2569" y="1158"/>
                  </a:cubicBezTo>
                  <a:cubicBezTo>
                    <a:pt x="2576" y="1166"/>
                    <a:pt x="2569" y="1196"/>
                    <a:pt x="2591" y="1181"/>
                  </a:cubicBezTo>
                  <a:cubicBezTo>
                    <a:pt x="2606" y="1173"/>
                    <a:pt x="2599" y="1144"/>
                    <a:pt x="2614" y="1151"/>
                  </a:cubicBezTo>
                  <a:cubicBezTo>
                    <a:pt x="2636" y="1158"/>
                    <a:pt x="2628" y="1181"/>
                    <a:pt x="2614" y="1188"/>
                  </a:cubicBezTo>
                  <a:cubicBezTo>
                    <a:pt x="2614" y="1188"/>
                    <a:pt x="2621" y="1203"/>
                    <a:pt x="2628" y="1203"/>
                  </a:cubicBezTo>
                  <a:cubicBezTo>
                    <a:pt x="2621" y="1203"/>
                    <a:pt x="2614" y="1211"/>
                    <a:pt x="2614" y="1218"/>
                  </a:cubicBezTo>
                  <a:cubicBezTo>
                    <a:pt x="2621" y="1225"/>
                    <a:pt x="2636" y="1218"/>
                    <a:pt x="2643" y="1218"/>
                  </a:cubicBezTo>
                  <a:cubicBezTo>
                    <a:pt x="2658" y="1211"/>
                    <a:pt x="2680" y="1203"/>
                    <a:pt x="2703" y="1211"/>
                  </a:cubicBezTo>
                  <a:cubicBezTo>
                    <a:pt x="2710" y="1196"/>
                    <a:pt x="2717" y="1173"/>
                    <a:pt x="2725" y="1158"/>
                  </a:cubicBezTo>
                  <a:cubicBezTo>
                    <a:pt x="2732" y="1144"/>
                    <a:pt x="2732" y="1121"/>
                    <a:pt x="2732" y="1106"/>
                  </a:cubicBezTo>
                  <a:cubicBezTo>
                    <a:pt x="2740" y="1099"/>
                    <a:pt x="2747" y="1077"/>
                    <a:pt x="2740" y="1069"/>
                  </a:cubicBezTo>
                  <a:cubicBezTo>
                    <a:pt x="2740" y="1054"/>
                    <a:pt x="2703" y="1077"/>
                    <a:pt x="2703" y="1054"/>
                  </a:cubicBezTo>
                  <a:cubicBezTo>
                    <a:pt x="2703" y="1040"/>
                    <a:pt x="2725" y="1025"/>
                    <a:pt x="2740" y="1025"/>
                  </a:cubicBezTo>
                  <a:cubicBezTo>
                    <a:pt x="2747" y="1032"/>
                    <a:pt x="2762" y="1054"/>
                    <a:pt x="2755" y="1054"/>
                  </a:cubicBezTo>
                  <a:cubicBezTo>
                    <a:pt x="2769" y="1054"/>
                    <a:pt x="2769" y="1047"/>
                    <a:pt x="2777" y="1040"/>
                  </a:cubicBezTo>
                  <a:cubicBezTo>
                    <a:pt x="2777" y="1032"/>
                    <a:pt x="2777" y="1032"/>
                    <a:pt x="2777" y="1025"/>
                  </a:cubicBezTo>
                  <a:cubicBezTo>
                    <a:pt x="2777" y="1017"/>
                    <a:pt x="2784" y="1017"/>
                    <a:pt x="2784" y="1010"/>
                  </a:cubicBezTo>
                  <a:cubicBezTo>
                    <a:pt x="2784" y="995"/>
                    <a:pt x="2784" y="988"/>
                    <a:pt x="2792" y="980"/>
                  </a:cubicBezTo>
                  <a:cubicBezTo>
                    <a:pt x="2799" y="973"/>
                    <a:pt x="2807" y="965"/>
                    <a:pt x="2814" y="958"/>
                  </a:cubicBezTo>
                  <a:cubicBezTo>
                    <a:pt x="2836" y="936"/>
                    <a:pt x="2866" y="921"/>
                    <a:pt x="2888" y="899"/>
                  </a:cubicBezTo>
                  <a:cubicBezTo>
                    <a:pt x="2903" y="884"/>
                    <a:pt x="2903" y="876"/>
                    <a:pt x="2903" y="861"/>
                  </a:cubicBezTo>
                  <a:cubicBezTo>
                    <a:pt x="2911" y="846"/>
                    <a:pt x="2925" y="839"/>
                    <a:pt x="2933" y="832"/>
                  </a:cubicBezTo>
                  <a:cubicBezTo>
                    <a:pt x="2940" y="817"/>
                    <a:pt x="2940" y="802"/>
                    <a:pt x="2940" y="787"/>
                  </a:cubicBezTo>
                  <a:cubicBezTo>
                    <a:pt x="2933" y="772"/>
                    <a:pt x="2925" y="772"/>
                    <a:pt x="2911" y="765"/>
                  </a:cubicBezTo>
                  <a:cubicBezTo>
                    <a:pt x="2903" y="765"/>
                    <a:pt x="2896" y="750"/>
                    <a:pt x="2881" y="750"/>
                  </a:cubicBezTo>
                  <a:cubicBezTo>
                    <a:pt x="2896" y="750"/>
                    <a:pt x="2903" y="750"/>
                    <a:pt x="2911" y="750"/>
                  </a:cubicBezTo>
                  <a:cubicBezTo>
                    <a:pt x="2918" y="757"/>
                    <a:pt x="2925" y="765"/>
                    <a:pt x="2933" y="765"/>
                  </a:cubicBezTo>
                  <a:cubicBezTo>
                    <a:pt x="2970" y="772"/>
                    <a:pt x="3007" y="661"/>
                    <a:pt x="3014" y="631"/>
                  </a:cubicBezTo>
                  <a:cubicBezTo>
                    <a:pt x="3029" y="594"/>
                    <a:pt x="3044" y="579"/>
                    <a:pt x="3044" y="542"/>
                  </a:cubicBezTo>
                  <a:cubicBezTo>
                    <a:pt x="3052" y="512"/>
                    <a:pt x="3044" y="483"/>
                    <a:pt x="3052" y="453"/>
                  </a:cubicBezTo>
                  <a:cubicBezTo>
                    <a:pt x="3052" y="386"/>
                    <a:pt x="3104" y="349"/>
                    <a:pt x="3104" y="290"/>
                  </a:cubicBezTo>
                  <a:cubicBezTo>
                    <a:pt x="3111" y="238"/>
                    <a:pt x="3111" y="186"/>
                    <a:pt x="3096" y="134"/>
                  </a:cubicBezTo>
                  <a:cubicBezTo>
                    <a:pt x="3089" y="104"/>
                    <a:pt x="3066" y="82"/>
                    <a:pt x="3052" y="59"/>
                  </a:cubicBezTo>
                  <a:cubicBezTo>
                    <a:pt x="3007" y="44"/>
                    <a:pt x="2970" y="30"/>
                    <a:pt x="2940" y="22"/>
                  </a:cubicBezTo>
                  <a:cubicBezTo>
                    <a:pt x="2933" y="44"/>
                    <a:pt x="2918" y="59"/>
                    <a:pt x="2896" y="52"/>
                  </a:cubicBezTo>
                  <a:close/>
                  <a:moveTo>
                    <a:pt x="2606" y="1931"/>
                  </a:moveTo>
                  <a:lnTo>
                    <a:pt x="2606" y="1931"/>
                  </a:lnTo>
                  <a:cubicBezTo>
                    <a:pt x="2628" y="1923"/>
                    <a:pt x="2651" y="1923"/>
                    <a:pt x="2666" y="1931"/>
                  </a:cubicBezTo>
                  <a:cubicBezTo>
                    <a:pt x="2673" y="1938"/>
                    <a:pt x="2680" y="1953"/>
                    <a:pt x="2688" y="1968"/>
                  </a:cubicBezTo>
                  <a:cubicBezTo>
                    <a:pt x="2695" y="1990"/>
                    <a:pt x="2695" y="2027"/>
                    <a:pt x="2688" y="2057"/>
                  </a:cubicBezTo>
                  <a:cubicBezTo>
                    <a:pt x="2666" y="2072"/>
                    <a:pt x="2673" y="2064"/>
                    <a:pt x="2651" y="2050"/>
                  </a:cubicBezTo>
                  <a:cubicBezTo>
                    <a:pt x="2643" y="2042"/>
                    <a:pt x="2636" y="2042"/>
                    <a:pt x="2628" y="2035"/>
                  </a:cubicBezTo>
                  <a:cubicBezTo>
                    <a:pt x="2621" y="2027"/>
                    <a:pt x="2628" y="2020"/>
                    <a:pt x="2614" y="2020"/>
                  </a:cubicBezTo>
                  <a:lnTo>
                    <a:pt x="2614" y="2020"/>
                  </a:lnTo>
                  <a:cubicBezTo>
                    <a:pt x="2591" y="2013"/>
                    <a:pt x="2569" y="1983"/>
                    <a:pt x="2569" y="1968"/>
                  </a:cubicBezTo>
                  <a:cubicBezTo>
                    <a:pt x="2599" y="1968"/>
                    <a:pt x="2584" y="1938"/>
                    <a:pt x="2606" y="1931"/>
                  </a:cubicBez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lIns="60927" tIns="30463" rIns="60927" bIns="30463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38" name="Freeform 30"/>
            <p:cNvSpPr>
              <a:spLocks noChangeArrowheads="1"/>
            </p:cNvSpPr>
            <p:nvPr/>
          </p:nvSpPr>
          <p:spPr bwMode="auto">
            <a:xfrm>
              <a:off x="12493786" y="6792925"/>
              <a:ext cx="1336363" cy="1040184"/>
            </a:xfrm>
            <a:custGeom>
              <a:avLst/>
              <a:gdLst>
                <a:gd name="T0" fmla="*/ 2777 w 3090"/>
                <a:gd name="T1" fmla="*/ 52 h 2406"/>
                <a:gd name="T2" fmla="*/ 2577 w 3090"/>
                <a:gd name="T3" fmla="*/ 216 h 2406"/>
                <a:gd name="T4" fmla="*/ 2465 w 3090"/>
                <a:gd name="T5" fmla="*/ 535 h 2406"/>
                <a:gd name="T6" fmla="*/ 2302 w 3090"/>
                <a:gd name="T7" fmla="*/ 557 h 2406"/>
                <a:gd name="T8" fmla="*/ 2161 w 3090"/>
                <a:gd name="T9" fmla="*/ 609 h 2406"/>
                <a:gd name="T10" fmla="*/ 1998 w 3090"/>
                <a:gd name="T11" fmla="*/ 713 h 2406"/>
                <a:gd name="T12" fmla="*/ 1879 w 3090"/>
                <a:gd name="T13" fmla="*/ 498 h 2406"/>
                <a:gd name="T14" fmla="*/ 1693 w 3090"/>
                <a:gd name="T15" fmla="*/ 431 h 2406"/>
                <a:gd name="T16" fmla="*/ 1574 w 3090"/>
                <a:gd name="T17" fmla="*/ 527 h 2406"/>
                <a:gd name="T18" fmla="*/ 1500 w 3090"/>
                <a:gd name="T19" fmla="*/ 602 h 2406"/>
                <a:gd name="T20" fmla="*/ 1218 w 3090"/>
                <a:gd name="T21" fmla="*/ 713 h 2406"/>
                <a:gd name="T22" fmla="*/ 1025 w 3090"/>
                <a:gd name="T23" fmla="*/ 646 h 2406"/>
                <a:gd name="T24" fmla="*/ 884 w 3090"/>
                <a:gd name="T25" fmla="*/ 795 h 2406"/>
                <a:gd name="T26" fmla="*/ 564 w 3090"/>
                <a:gd name="T27" fmla="*/ 646 h 2406"/>
                <a:gd name="T28" fmla="*/ 126 w 3090"/>
                <a:gd name="T29" fmla="*/ 587 h 2406"/>
                <a:gd name="T30" fmla="*/ 74 w 3090"/>
                <a:gd name="T31" fmla="*/ 661 h 2406"/>
                <a:gd name="T32" fmla="*/ 30 w 3090"/>
                <a:gd name="T33" fmla="*/ 854 h 2406"/>
                <a:gd name="T34" fmla="*/ 267 w 3090"/>
                <a:gd name="T35" fmla="*/ 1099 h 2406"/>
                <a:gd name="T36" fmla="*/ 431 w 3090"/>
                <a:gd name="T37" fmla="*/ 1233 h 2406"/>
                <a:gd name="T38" fmla="*/ 549 w 3090"/>
                <a:gd name="T39" fmla="*/ 1656 h 2406"/>
                <a:gd name="T40" fmla="*/ 572 w 3090"/>
                <a:gd name="T41" fmla="*/ 1885 h 2406"/>
                <a:gd name="T42" fmla="*/ 579 w 3090"/>
                <a:gd name="T43" fmla="*/ 2086 h 2406"/>
                <a:gd name="T44" fmla="*/ 1017 w 3090"/>
                <a:gd name="T45" fmla="*/ 2086 h 2406"/>
                <a:gd name="T46" fmla="*/ 1225 w 3090"/>
                <a:gd name="T47" fmla="*/ 2249 h 2406"/>
                <a:gd name="T48" fmla="*/ 1329 w 3090"/>
                <a:gd name="T49" fmla="*/ 2353 h 2406"/>
                <a:gd name="T50" fmla="*/ 1716 w 3090"/>
                <a:gd name="T51" fmla="*/ 2316 h 2406"/>
                <a:gd name="T52" fmla="*/ 1871 w 3090"/>
                <a:gd name="T53" fmla="*/ 2309 h 2406"/>
                <a:gd name="T54" fmla="*/ 1931 w 3090"/>
                <a:gd name="T55" fmla="*/ 2041 h 2406"/>
                <a:gd name="T56" fmla="*/ 2183 w 3090"/>
                <a:gd name="T57" fmla="*/ 2175 h 2406"/>
                <a:gd name="T58" fmla="*/ 2384 w 3090"/>
                <a:gd name="T59" fmla="*/ 2234 h 2406"/>
                <a:gd name="T60" fmla="*/ 2361 w 3090"/>
                <a:gd name="T61" fmla="*/ 2079 h 2406"/>
                <a:gd name="T62" fmla="*/ 2280 w 3090"/>
                <a:gd name="T63" fmla="*/ 1960 h 2406"/>
                <a:gd name="T64" fmla="*/ 2168 w 3090"/>
                <a:gd name="T65" fmla="*/ 1826 h 2406"/>
                <a:gd name="T66" fmla="*/ 2109 w 3090"/>
                <a:gd name="T67" fmla="*/ 1693 h 2406"/>
                <a:gd name="T68" fmla="*/ 1908 w 3090"/>
                <a:gd name="T69" fmla="*/ 1604 h 2406"/>
                <a:gd name="T70" fmla="*/ 1738 w 3090"/>
                <a:gd name="T71" fmla="*/ 1523 h 2406"/>
                <a:gd name="T72" fmla="*/ 1879 w 3090"/>
                <a:gd name="T73" fmla="*/ 1322 h 2406"/>
                <a:gd name="T74" fmla="*/ 2050 w 3090"/>
                <a:gd name="T75" fmla="*/ 1344 h 2406"/>
                <a:gd name="T76" fmla="*/ 2250 w 3090"/>
                <a:gd name="T77" fmla="*/ 1181 h 2406"/>
                <a:gd name="T78" fmla="*/ 2465 w 3090"/>
                <a:gd name="T79" fmla="*/ 1025 h 2406"/>
                <a:gd name="T80" fmla="*/ 2673 w 3090"/>
                <a:gd name="T81" fmla="*/ 1032 h 2406"/>
                <a:gd name="T82" fmla="*/ 2673 w 3090"/>
                <a:gd name="T83" fmla="*/ 891 h 2406"/>
                <a:gd name="T84" fmla="*/ 2815 w 3090"/>
                <a:gd name="T85" fmla="*/ 899 h 2406"/>
                <a:gd name="T86" fmla="*/ 2948 w 3090"/>
                <a:gd name="T87" fmla="*/ 802 h 2406"/>
                <a:gd name="T88" fmla="*/ 3022 w 3090"/>
                <a:gd name="T89" fmla="*/ 579 h 2406"/>
                <a:gd name="T90" fmla="*/ 3074 w 3090"/>
                <a:gd name="T91" fmla="*/ 409 h 2406"/>
                <a:gd name="T92" fmla="*/ 3045 w 3090"/>
                <a:gd name="T93" fmla="*/ 141 h 2406"/>
                <a:gd name="T94" fmla="*/ 2911 w 3090"/>
                <a:gd name="T95" fmla="*/ 45 h 2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090" h="2406">
                  <a:moveTo>
                    <a:pt x="2785" y="8"/>
                  </a:moveTo>
                  <a:lnTo>
                    <a:pt x="2785" y="8"/>
                  </a:lnTo>
                  <a:cubicBezTo>
                    <a:pt x="2777" y="8"/>
                    <a:pt x="2777" y="52"/>
                    <a:pt x="2777" y="52"/>
                  </a:cubicBezTo>
                  <a:cubicBezTo>
                    <a:pt x="2748" y="52"/>
                    <a:pt x="2763" y="82"/>
                    <a:pt x="2755" y="97"/>
                  </a:cubicBezTo>
                  <a:cubicBezTo>
                    <a:pt x="2718" y="97"/>
                    <a:pt x="2681" y="97"/>
                    <a:pt x="2644" y="97"/>
                  </a:cubicBezTo>
                  <a:cubicBezTo>
                    <a:pt x="2629" y="134"/>
                    <a:pt x="2621" y="208"/>
                    <a:pt x="2577" y="216"/>
                  </a:cubicBezTo>
                  <a:cubicBezTo>
                    <a:pt x="2488" y="223"/>
                    <a:pt x="2547" y="312"/>
                    <a:pt x="2525" y="364"/>
                  </a:cubicBezTo>
                  <a:cubicBezTo>
                    <a:pt x="2518" y="394"/>
                    <a:pt x="2480" y="386"/>
                    <a:pt x="2480" y="423"/>
                  </a:cubicBezTo>
                  <a:cubicBezTo>
                    <a:pt x="2480" y="453"/>
                    <a:pt x="2480" y="505"/>
                    <a:pt x="2465" y="535"/>
                  </a:cubicBezTo>
                  <a:cubicBezTo>
                    <a:pt x="2458" y="550"/>
                    <a:pt x="2428" y="535"/>
                    <a:pt x="2413" y="542"/>
                  </a:cubicBezTo>
                  <a:cubicBezTo>
                    <a:pt x="2384" y="557"/>
                    <a:pt x="2406" y="579"/>
                    <a:pt x="2399" y="602"/>
                  </a:cubicBezTo>
                  <a:cubicBezTo>
                    <a:pt x="2354" y="624"/>
                    <a:pt x="2339" y="557"/>
                    <a:pt x="2302" y="557"/>
                  </a:cubicBezTo>
                  <a:cubicBezTo>
                    <a:pt x="2302" y="594"/>
                    <a:pt x="2250" y="624"/>
                    <a:pt x="2220" y="617"/>
                  </a:cubicBezTo>
                  <a:cubicBezTo>
                    <a:pt x="2220" y="594"/>
                    <a:pt x="2206" y="550"/>
                    <a:pt x="2176" y="572"/>
                  </a:cubicBezTo>
                  <a:cubicBezTo>
                    <a:pt x="2161" y="579"/>
                    <a:pt x="2168" y="594"/>
                    <a:pt x="2161" y="609"/>
                  </a:cubicBezTo>
                  <a:cubicBezTo>
                    <a:pt x="2146" y="617"/>
                    <a:pt x="2131" y="617"/>
                    <a:pt x="2124" y="631"/>
                  </a:cubicBezTo>
                  <a:cubicBezTo>
                    <a:pt x="2109" y="668"/>
                    <a:pt x="2124" y="750"/>
                    <a:pt x="2057" y="736"/>
                  </a:cubicBezTo>
                  <a:cubicBezTo>
                    <a:pt x="2057" y="698"/>
                    <a:pt x="2013" y="728"/>
                    <a:pt x="1998" y="713"/>
                  </a:cubicBezTo>
                  <a:cubicBezTo>
                    <a:pt x="1983" y="691"/>
                    <a:pt x="1998" y="654"/>
                    <a:pt x="1990" y="631"/>
                  </a:cubicBezTo>
                  <a:cubicBezTo>
                    <a:pt x="1990" y="550"/>
                    <a:pt x="1938" y="617"/>
                    <a:pt x="1886" y="602"/>
                  </a:cubicBezTo>
                  <a:cubicBezTo>
                    <a:pt x="1886" y="572"/>
                    <a:pt x="1908" y="527"/>
                    <a:pt x="1879" y="498"/>
                  </a:cubicBezTo>
                  <a:cubicBezTo>
                    <a:pt x="1864" y="483"/>
                    <a:pt x="1842" y="476"/>
                    <a:pt x="1834" y="453"/>
                  </a:cubicBezTo>
                  <a:cubicBezTo>
                    <a:pt x="1834" y="446"/>
                    <a:pt x="1834" y="446"/>
                    <a:pt x="1827" y="438"/>
                  </a:cubicBezTo>
                  <a:cubicBezTo>
                    <a:pt x="1797" y="446"/>
                    <a:pt x="1693" y="490"/>
                    <a:pt x="1693" y="431"/>
                  </a:cubicBezTo>
                  <a:cubicBezTo>
                    <a:pt x="1671" y="423"/>
                    <a:pt x="1634" y="416"/>
                    <a:pt x="1619" y="423"/>
                  </a:cubicBezTo>
                  <a:cubicBezTo>
                    <a:pt x="1589" y="438"/>
                    <a:pt x="1611" y="468"/>
                    <a:pt x="1604" y="490"/>
                  </a:cubicBezTo>
                  <a:cubicBezTo>
                    <a:pt x="1597" y="505"/>
                    <a:pt x="1574" y="505"/>
                    <a:pt x="1574" y="527"/>
                  </a:cubicBezTo>
                  <a:cubicBezTo>
                    <a:pt x="1574" y="542"/>
                    <a:pt x="1574" y="550"/>
                    <a:pt x="1567" y="557"/>
                  </a:cubicBezTo>
                  <a:cubicBezTo>
                    <a:pt x="1567" y="579"/>
                    <a:pt x="1552" y="579"/>
                    <a:pt x="1537" y="587"/>
                  </a:cubicBezTo>
                  <a:cubicBezTo>
                    <a:pt x="1515" y="587"/>
                    <a:pt x="1508" y="587"/>
                    <a:pt x="1500" y="602"/>
                  </a:cubicBezTo>
                  <a:cubicBezTo>
                    <a:pt x="1500" y="617"/>
                    <a:pt x="1493" y="639"/>
                    <a:pt x="1478" y="646"/>
                  </a:cubicBezTo>
                  <a:cubicBezTo>
                    <a:pt x="1418" y="654"/>
                    <a:pt x="1366" y="639"/>
                    <a:pt x="1314" y="668"/>
                  </a:cubicBezTo>
                  <a:cubicBezTo>
                    <a:pt x="1314" y="721"/>
                    <a:pt x="1248" y="706"/>
                    <a:pt x="1218" y="713"/>
                  </a:cubicBezTo>
                  <a:cubicBezTo>
                    <a:pt x="1196" y="721"/>
                    <a:pt x="1196" y="750"/>
                    <a:pt x="1173" y="758"/>
                  </a:cubicBezTo>
                  <a:cubicBezTo>
                    <a:pt x="1159" y="758"/>
                    <a:pt x="1136" y="750"/>
                    <a:pt x="1121" y="743"/>
                  </a:cubicBezTo>
                  <a:cubicBezTo>
                    <a:pt x="1077" y="721"/>
                    <a:pt x="1077" y="639"/>
                    <a:pt x="1025" y="646"/>
                  </a:cubicBezTo>
                  <a:cubicBezTo>
                    <a:pt x="980" y="654"/>
                    <a:pt x="988" y="683"/>
                    <a:pt x="973" y="706"/>
                  </a:cubicBezTo>
                  <a:cubicBezTo>
                    <a:pt x="958" y="736"/>
                    <a:pt x="921" y="728"/>
                    <a:pt x="891" y="728"/>
                  </a:cubicBezTo>
                  <a:cubicBezTo>
                    <a:pt x="891" y="750"/>
                    <a:pt x="891" y="773"/>
                    <a:pt x="884" y="795"/>
                  </a:cubicBezTo>
                  <a:cubicBezTo>
                    <a:pt x="832" y="795"/>
                    <a:pt x="735" y="787"/>
                    <a:pt x="728" y="721"/>
                  </a:cubicBezTo>
                  <a:cubicBezTo>
                    <a:pt x="728" y="683"/>
                    <a:pt x="735" y="609"/>
                    <a:pt x="676" y="624"/>
                  </a:cubicBezTo>
                  <a:cubicBezTo>
                    <a:pt x="646" y="631"/>
                    <a:pt x="587" y="691"/>
                    <a:pt x="564" y="646"/>
                  </a:cubicBezTo>
                  <a:cubicBezTo>
                    <a:pt x="542" y="602"/>
                    <a:pt x="527" y="557"/>
                    <a:pt x="475" y="565"/>
                  </a:cubicBezTo>
                  <a:cubicBezTo>
                    <a:pt x="468" y="639"/>
                    <a:pt x="423" y="624"/>
                    <a:pt x="356" y="624"/>
                  </a:cubicBezTo>
                  <a:cubicBezTo>
                    <a:pt x="290" y="617"/>
                    <a:pt x="186" y="631"/>
                    <a:pt x="126" y="587"/>
                  </a:cubicBezTo>
                  <a:cubicBezTo>
                    <a:pt x="111" y="587"/>
                    <a:pt x="89" y="579"/>
                    <a:pt x="59" y="572"/>
                  </a:cubicBezTo>
                  <a:cubicBezTo>
                    <a:pt x="59" y="587"/>
                    <a:pt x="59" y="602"/>
                    <a:pt x="59" y="617"/>
                  </a:cubicBezTo>
                  <a:cubicBezTo>
                    <a:pt x="67" y="631"/>
                    <a:pt x="89" y="639"/>
                    <a:pt x="74" y="661"/>
                  </a:cubicBezTo>
                  <a:cubicBezTo>
                    <a:pt x="52" y="691"/>
                    <a:pt x="37" y="713"/>
                    <a:pt x="59" y="743"/>
                  </a:cubicBezTo>
                  <a:cubicBezTo>
                    <a:pt x="82" y="780"/>
                    <a:pt x="44" y="780"/>
                    <a:pt x="22" y="802"/>
                  </a:cubicBezTo>
                  <a:cubicBezTo>
                    <a:pt x="0" y="825"/>
                    <a:pt x="15" y="839"/>
                    <a:pt x="30" y="854"/>
                  </a:cubicBezTo>
                  <a:cubicBezTo>
                    <a:pt x="82" y="854"/>
                    <a:pt x="134" y="869"/>
                    <a:pt x="134" y="914"/>
                  </a:cubicBezTo>
                  <a:cubicBezTo>
                    <a:pt x="141" y="988"/>
                    <a:pt x="163" y="1003"/>
                    <a:pt x="215" y="1040"/>
                  </a:cubicBezTo>
                  <a:cubicBezTo>
                    <a:pt x="245" y="1055"/>
                    <a:pt x="260" y="1070"/>
                    <a:pt x="267" y="1099"/>
                  </a:cubicBezTo>
                  <a:cubicBezTo>
                    <a:pt x="275" y="1129"/>
                    <a:pt x="282" y="1166"/>
                    <a:pt x="319" y="1159"/>
                  </a:cubicBezTo>
                  <a:cubicBezTo>
                    <a:pt x="319" y="1181"/>
                    <a:pt x="319" y="1218"/>
                    <a:pt x="342" y="1225"/>
                  </a:cubicBezTo>
                  <a:cubicBezTo>
                    <a:pt x="371" y="1240"/>
                    <a:pt x="416" y="1218"/>
                    <a:pt x="431" y="1233"/>
                  </a:cubicBezTo>
                  <a:cubicBezTo>
                    <a:pt x="498" y="1285"/>
                    <a:pt x="431" y="1389"/>
                    <a:pt x="446" y="1463"/>
                  </a:cubicBezTo>
                  <a:cubicBezTo>
                    <a:pt x="498" y="1448"/>
                    <a:pt x="483" y="1560"/>
                    <a:pt x="490" y="1597"/>
                  </a:cubicBezTo>
                  <a:cubicBezTo>
                    <a:pt x="520" y="1597"/>
                    <a:pt x="535" y="1634"/>
                    <a:pt x="549" y="1656"/>
                  </a:cubicBezTo>
                  <a:cubicBezTo>
                    <a:pt x="579" y="1708"/>
                    <a:pt x="631" y="1693"/>
                    <a:pt x="676" y="1693"/>
                  </a:cubicBezTo>
                  <a:cubicBezTo>
                    <a:pt x="668" y="1738"/>
                    <a:pt x="654" y="1775"/>
                    <a:pt x="654" y="1812"/>
                  </a:cubicBezTo>
                  <a:cubicBezTo>
                    <a:pt x="654" y="1863"/>
                    <a:pt x="594" y="1856"/>
                    <a:pt x="572" y="1885"/>
                  </a:cubicBezTo>
                  <a:cubicBezTo>
                    <a:pt x="535" y="1915"/>
                    <a:pt x="512" y="1952"/>
                    <a:pt x="498" y="1997"/>
                  </a:cubicBezTo>
                  <a:cubicBezTo>
                    <a:pt x="512" y="1997"/>
                    <a:pt x="527" y="1997"/>
                    <a:pt x="535" y="2012"/>
                  </a:cubicBezTo>
                  <a:cubicBezTo>
                    <a:pt x="557" y="2027"/>
                    <a:pt x="557" y="2064"/>
                    <a:pt x="579" y="2086"/>
                  </a:cubicBezTo>
                  <a:cubicBezTo>
                    <a:pt x="616" y="2130"/>
                    <a:pt x="735" y="2145"/>
                    <a:pt x="795" y="2116"/>
                  </a:cubicBezTo>
                  <a:cubicBezTo>
                    <a:pt x="817" y="2101"/>
                    <a:pt x="839" y="2086"/>
                    <a:pt x="869" y="2079"/>
                  </a:cubicBezTo>
                  <a:cubicBezTo>
                    <a:pt x="921" y="2071"/>
                    <a:pt x="965" y="2093"/>
                    <a:pt x="1017" y="2086"/>
                  </a:cubicBezTo>
                  <a:cubicBezTo>
                    <a:pt x="1054" y="2079"/>
                    <a:pt x="1092" y="2071"/>
                    <a:pt x="1129" y="2056"/>
                  </a:cubicBezTo>
                  <a:cubicBezTo>
                    <a:pt x="1159" y="2041"/>
                    <a:pt x="1188" y="2012"/>
                    <a:pt x="1225" y="2019"/>
                  </a:cubicBezTo>
                  <a:cubicBezTo>
                    <a:pt x="1233" y="2093"/>
                    <a:pt x="1233" y="2175"/>
                    <a:pt x="1225" y="2249"/>
                  </a:cubicBezTo>
                  <a:cubicBezTo>
                    <a:pt x="1218" y="2249"/>
                    <a:pt x="1218" y="2249"/>
                    <a:pt x="1211" y="2257"/>
                  </a:cubicBezTo>
                  <a:cubicBezTo>
                    <a:pt x="1211" y="2286"/>
                    <a:pt x="1173" y="2286"/>
                    <a:pt x="1166" y="2309"/>
                  </a:cubicBezTo>
                  <a:cubicBezTo>
                    <a:pt x="1218" y="2316"/>
                    <a:pt x="1270" y="2361"/>
                    <a:pt x="1329" y="2353"/>
                  </a:cubicBezTo>
                  <a:cubicBezTo>
                    <a:pt x="1374" y="2346"/>
                    <a:pt x="1389" y="2294"/>
                    <a:pt x="1426" y="2279"/>
                  </a:cubicBezTo>
                  <a:cubicBezTo>
                    <a:pt x="1470" y="2257"/>
                    <a:pt x="1530" y="2279"/>
                    <a:pt x="1574" y="2294"/>
                  </a:cubicBezTo>
                  <a:cubicBezTo>
                    <a:pt x="1619" y="2316"/>
                    <a:pt x="1671" y="2361"/>
                    <a:pt x="1716" y="2316"/>
                  </a:cubicBezTo>
                  <a:cubicBezTo>
                    <a:pt x="1760" y="2331"/>
                    <a:pt x="1738" y="2361"/>
                    <a:pt x="1716" y="2383"/>
                  </a:cubicBezTo>
                  <a:cubicBezTo>
                    <a:pt x="1745" y="2390"/>
                    <a:pt x="1767" y="2405"/>
                    <a:pt x="1805" y="2398"/>
                  </a:cubicBezTo>
                  <a:cubicBezTo>
                    <a:pt x="1827" y="2368"/>
                    <a:pt x="1805" y="2301"/>
                    <a:pt x="1871" y="2309"/>
                  </a:cubicBezTo>
                  <a:cubicBezTo>
                    <a:pt x="1879" y="2264"/>
                    <a:pt x="1842" y="2234"/>
                    <a:pt x="1849" y="2197"/>
                  </a:cubicBezTo>
                  <a:cubicBezTo>
                    <a:pt x="1916" y="2175"/>
                    <a:pt x="1834" y="2049"/>
                    <a:pt x="1819" y="2019"/>
                  </a:cubicBezTo>
                  <a:cubicBezTo>
                    <a:pt x="1856" y="2012"/>
                    <a:pt x="1938" y="1982"/>
                    <a:pt x="1931" y="2041"/>
                  </a:cubicBezTo>
                  <a:cubicBezTo>
                    <a:pt x="1983" y="2049"/>
                    <a:pt x="2050" y="2027"/>
                    <a:pt x="2087" y="2071"/>
                  </a:cubicBezTo>
                  <a:cubicBezTo>
                    <a:pt x="2109" y="2093"/>
                    <a:pt x="2161" y="2153"/>
                    <a:pt x="2153" y="2182"/>
                  </a:cubicBezTo>
                  <a:cubicBezTo>
                    <a:pt x="2161" y="2182"/>
                    <a:pt x="2176" y="2182"/>
                    <a:pt x="2183" y="2175"/>
                  </a:cubicBezTo>
                  <a:cubicBezTo>
                    <a:pt x="2206" y="2086"/>
                    <a:pt x="2339" y="2168"/>
                    <a:pt x="2324" y="2242"/>
                  </a:cubicBezTo>
                  <a:cubicBezTo>
                    <a:pt x="2339" y="2242"/>
                    <a:pt x="2347" y="2242"/>
                    <a:pt x="2354" y="2242"/>
                  </a:cubicBezTo>
                  <a:cubicBezTo>
                    <a:pt x="2361" y="2242"/>
                    <a:pt x="2369" y="2234"/>
                    <a:pt x="2384" y="2234"/>
                  </a:cubicBezTo>
                  <a:cubicBezTo>
                    <a:pt x="2421" y="2227"/>
                    <a:pt x="2436" y="2197"/>
                    <a:pt x="2465" y="2190"/>
                  </a:cubicBezTo>
                  <a:cubicBezTo>
                    <a:pt x="2436" y="2160"/>
                    <a:pt x="2428" y="2182"/>
                    <a:pt x="2421" y="2138"/>
                  </a:cubicBezTo>
                  <a:cubicBezTo>
                    <a:pt x="2421" y="2101"/>
                    <a:pt x="2391" y="2101"/>
                    <a:pt x="2361" y="2079"/>
                  </a:cubicBezTo>
                  <a:cubicBezTo>
                    <a:pt x="2376" y="2056"/>
                    <a:pt x="2406" y="2064"/>
                    <a:pt x="2391" y="2027"/>
                  </a:cubicBezTo>
                  <a:cubicBezTo>
                    <a:pt x="2376" y="2004"/>
                    <a:pt x="2324" y="1989"/>
                    <a:pt x="2332" y="1960"/>
                  </a:cubicBezTo>
                  <a:cubicBezTo>
                    <a:pt x="2317" y="1952"/>
                    <a:pt x="2302" y="1960"/>
                    <a:pt x="2280" y="1960"/>
                  </a:cubicBezTo>
                  <a:cubicBezTo>
                    <a:pt x="2287" y="1945"/>
                    <a:pt x="2287" y="1930"/>
                    <a:pt x="2287" y="1915"/>
                  </a:cubicBezTo>
                  <a:cubicBezTo>
                    <a:pt x="2258" y="1908"/>
                    <a:pt x="2228" y="1893"/>
                    <a:pt x="2213" y="1871"/>
                  </a:cubicBezTo>
                  <a:cubicBezTo>
                    <a:pt x="2198" y="1863"/>
                    <a:pt x="2176" y="1841"/>
                    <a:pt x="2168" y="1826"/>
                  </a:cubicBezTo>
                  <a:cubicBezTo>
                    <a:pt x="2131" y="1775"/>
                    <a:pt x="2176" y="1730"/>
                    <a:pt x="2220" y="1715"/>
                  </a:cubicBezTo>
                  <a:cubicBezTo>
                    <a:pt x="2228" y="1678"/>
                    <a:pt x="2139" y="1686"/>
                    <a:pt x="2116" y="1686"/>
                  </a:cubicBezTo>
                  <a:cubicBezTo>
                    <a:pt x="2116" y="1686"/>
                    <a:pt x="2116" y="1693"/>
                    <a:pt x="2109" y="1693"/>
                  </a:cubicBezTo>
                  <a:cubicBezTo>
                    <a:pt x="2094" y="1701"/>
                    <a:pt x="2087" y="1686"/>
                    <a:pt x="2094" y="1671"/>
                  </a:cubicBezTo>
                  <a:cubicBezTo>
                    <a:pt x="2050" y="1671"/>
                    <a:pt x="2013" y="1693"/>
                    <a:pt x="1983" y="1649"/>
                  </a:cubicBezTo>
                  <a:cubicBezTo>
                    <a:pt x="1968" y="1619"/>
                    <a:pt x="1953" y="1597"/>
                    <a:pt x="1908" y="1604"/>
                  </a:cubicBezTo>
                  <a:cubicBezTo>
                    <a:pt x="1894" y="1560"/>
                    <a:pt x="1864" y="1560"/>
                    <a:pt x="1819" y="1560"/>
                  </a:cubicBezTo>
                  <a:cubicBezTo>
                    <a:pt x="1797" y="1560"/>
                    <a:pt x="1790" y="1552"/>
                    <a:pt x="1790" y="1537"/>
                  </a:cubicBezTo>
                  <a:cubicBezTo>
                    <a:pt x="1790" y="1515"/>
                    <a:pt x="1753" y="1523"/>
                    <a:pt x="1738" y="1523"/>
                  </a:cubicBezTo>
                  <a:cubicBezTo>
                    <a:pt x="1738" y="1500"/>
                    <a:pt x="1745" y="1456"/>
                    <a:pt x="1760" y="1441"/>
                  </a:cubicBezTo>
                  <a:cubicBezTo>
                    <a:pt x="1805" y="1441"/>
                    <a:pt x="1797" y="1344"/>
                    <a:pt x="1767" y="1322"/>
                  </a:cubicBezTo>
                  <a:cubicBezTo>
                    <a:pt x="1805" y="1322"/>
                    <a:pt x="1842" y="1322"/>
                    <a:pt x="1879" y="1322"/>
                  </a:cubicBezTo>
                  <a:cubicBezTo>
                    <a:pt x="1886" y="1300"/>
                    <a:pt x="1864" y="1285"/>
                    <a:pt x="1871" y="1263"/>
                  </a:cubicBezTo>
                  <a:cubicBezTo>
                    <a:pt x="1901" y="1255"/>
                    <a:pt x="1931" y="1255"/>
                    <a:pt x="1961" y="1263"/>
                  </a:cubicBezTo>
                  <a:cubicBezTo>
                    <a:pt x="1961" y="1322"/>
                    <a:pt x="1983" y="1344"/>
                    <a:pt x="2050" y="1344"/>
                  </a:cubicBezTo>
                  <a:cubicBezTo>
                    <a:pt x="2072" y="1344"/>
                    <a:pt x="2087" y="1344"/>
                    <a:pt x="2094" y="1315"/>
                  </a:cubicBezTo>
                  <a:cubicBezTo>
                    <a:pt x="2102" y="1278"/>
                    <a:pt x="2116" y="1270"/>
                    <a:pt x="2146" y="1248"/>
                  </a:cubicBezTo>
                  <a:cubicBezTo>
                    <a:pt x="2183" y="1225"/>
                    <a:pt x="2213" y="1196"/>
                    <a:pt x="2250" y="1181"/>
                  </a:cubicBezTo>
                  <a:cubicBezTo>
                    <a:pt x="2280" y="1166"/>
                    <a:pt x="2317" y="1166"/>
                    <a:pt x="2354" y="1159"/>
                  </a:cubicBezTo>
                  <a:cubicBezTo>
                    <a:pt x="2399" y="1151"/>
                    <a:pt x="2376" y="1025"/>
                    <a:pt x="2443" y="1084"/>
                  </a:cubicBezTo>
                  <a:cubicBezTo>
                    <a:pt x="2443" y="1062"/>
                    <a:pt x="2436" y="1025"/>
                    <a:pt x="2465" y="1025"/>
                  </a:cubicBezTo>
                  <a:cubicBezTo>
                    <a:pt x="2518" y="1032"/>
                    <a:pt x="2562" y="1070"/>
                    <a:pt x="2621" y="1070"/>
                  </a:cubicBezTo>
                  <a:cubicBezTo>
                    <a:pt x="2621" y="1047"/>
                    <a:pt x="2621" y="1025"/>
                    <a:pt x="2599" y="1018"/>
                  </a:cubicBezTo>
                  <a:cubicBezTo>
                    <a:pt x="2629" y="1018"/>
                    <a:pt x="2651" y="1032"/>
                    <a:pt x="2673" y="1032"/>
                  </a:cubicBezTo>
                  <a:cubicBezTo>
                    <a:pt x="2673" y="1018"/>
                    <a:pt x="2681" y="1003"/>
                    <a:pt x="2681" y="988"/>
                  </a:cubicBezTo>
                  <a:cubicBezTo>
                    <a:pt x="2688" y="973"/>
                    <a:pt x="2696" y="973"/>
                    <a:pt x="2696" y="951"/>
                  </a:cubicBezTo>
                  <a:cubicBezTo>
                    <a:pt x="2696" y="936"/>
                    <a:pt x="2651" y="891"/>
                    <a:pt x="2673" y="891"/>
                  </a:cubicBezTo>
                  <a:cubicBezTo>
                    <a:pt x="2696" y="884"/>
                    <a:pt x="2733" y="891"/>
                    <a:pt x="2748" y="899"/>
                  </a:cubicBezTo>
                  <a:cubicBezTo>
                    <a:pt x="2777" y="914"/>
                    <a:pt x="2770" y="943"/>
                    <a:pt x="2815" y="943"/>
                  </a:cubicBezTo>
                  <a:cubicBezTo>
                    <a:pt x="2815" y="928"/>
                    <a:pt x="2815" y="914"/>
                    <a:pt x="2815" y="899"/>
                  </a:cubicBezTo>
                  <a:cubicBezTo>
                    <a:pt x="2822" y="899"/>
                    <a:pt x="2822" y="899"/>
                    <a:pt x="2822" y="899"/>
                  </a:cubicBezTo>
                  <a:cubicBezTo>
                    <a:pt x="2829" y="862"/>
                    <a:pt x="2822" y="802"/>
                    <a:pt x="2881" y="839"/>
                  </a:cubicBezTo>
                  <a:cubicBezTo>
                    <a:pt x="2874" y="802"/>
                    <a:pt x="2918" y="802"/>
                    <a:pt x="2948" y="802"/>
                  </a:cubicBezTo>
                  <a:cubicBezTo>
                    <a:pt x="2941" y="787"/>
                    <a:pt x="2933" y="773"/>
                    <a:pt x="2911" y="773"/>
                  </a:cubicBezTo>
                  <a:cubicBezTo>
                    <a:pt x="2911" y="750"/>
                    <a:pt x="2963" y="728"/>
                    <a:pt x="2970" y="706"/>
                  </a:cubicBezTo>
                  <a:cubicBezTo>
                    <a:pt x="3008" y="661"/>
                    <a:pt x="3022" y="639"/>
                    <a:pt x="3022" y="579"/>
                  </a:cubicBezTo>
                  <a:cubicBezTo>
                    <a:pt x="2955" y="565"/>
                    <a:pt x="3015" y="527"/>
                    <a:pt x="3000" y="505"/>
                  </a:cubicBezTo>
                  <a:cubicBezTo>
                    <a:pt x="3022" y="498"/>
                    <a:pt x="3052" y="505"/>
                    <a:pt x="3074" y="505"/>
                  </a:cubicBezTo>
                  <a:cubicBezTo>
                    <a:pt x="3074" y="476"/>
                    <a:pt x="3089" y="438"/>
                    <a:pt x="3074" y="409"/>
                  </a:cubicBezTo>
                  <a:cubicBezTo>
                    <a:pt x="3060" y="386"/>
                    <a:pt x="3015" y="386"/>
                    <a:pt x="3030" y="349"/>
                  </a:cubicBezTo>
                  <a:cubicBezTo>
                    <a:pt x="3037" y="349"/>
                    <a:pt x="3045" y="342"/>
                    <a:pt x="3052" y="334"/>
                  </a:cubicBezTo>
                  <a:cubicBezTo>
                    <a:pt x="3060" y="275"/>
                    <a:pt x="3082" y="201"/>
                    <a:pt x="3045" y="141"/>
                  </a:cubicBezTo>
                  <a:cubicBezTo>
                    <a:pt x="3030" y="126"/>
                    <a:pt x="2985" y="97"/>
                    <a:pt x="2985" y="74"/>
                  </a:cubicBezTo>
                  <a:cubicBezTo>
                    <a:pt x="2985" y="74"/>
                    <a:pt x="2985" y="74"/>
                    <a:pt x="2985" y="67"/>
                  </a:cubicBezTo>
                  <a:cubicBezTo>
                    <a:pt x="2955" y="60"/>
                    <a:pt x="2918" y="52"/>
                    <a:pt x="2911" y="45"/>
                  </a:cubicBezTo>
                  <a:cubicBezTo>
                    <a:pt x="2874" y="15"/>
                    <a:pt x="2829" y="0"/>
                    <a:pt x="2785" y="8"/>
                  </a:cubicBezTo>
                </a:path>
              </a:pathLst>
            </a:custGeom>
            <a:grpFill/>
            <a:ln w="6350" cap="flat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lIns="60927" tIns="30463" rIns="60927" bIns="30463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39" name="Freeform 31"/>
            <p:cNvSpPr>
              <a:spLocks noChangeArrowheads="1"/>
            </p:cNvSpPr>
            <p:nvPr/>
          </p:nvSpPr>
          <p:spPr bwMode="auto">
            <a:xfrm>
              <a:off x="13014226" y="8608482"/>
              <a:ext cx="9531" cy="7621"/>
            </a:xfrm>
            <a:custGeom>
              <a:avLst/>
              <a:gdLst>
                <a:gd name="T0" fmla="*/ 22 w 23"/>
                <a:gd name="T1" fmla="*/ 0 h 16"/>
                <a:gd name="T2" fmla="*/ 22 w 23"/>
                <a:gd name="T3" fmla="*/ 0 h 16"/>
                <a:gd name="T4" fmla="*/ 0 w 23"/>
                <a:gd name="T5" fmla="*/ 15 h 16"/>
                <a:gd name="T6" fmla="*/ 22 w 23"/>
                <a:gd name="T7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16">
                  <a:moveTo>
                    <a:pt x="22" y="0"/>
                  </a:moveTo>
                  <a:lnTo>
                    <a:pt x="22" y="0"/>
                  </a:lnTo>
                  <a:cubicBezTo>
                    <a:pt x="15" y="8"/>
                    <a:pt x="8" y="8"/>
                    <a:pt x="0" y="15"/>
                  </a:cubicBezTo>
                  <a:cubicBezTo>
                    <a:pt x="8" y="15"/>
                    <a:pt x="22" y="8"/>
                    <a:pt x="22" y="0"/>
                  </a:cubicBezTo>
                </a:path>
              </a:pathLst>
            </a:custGeom>
            <a:grpFill/>
            <a:ln w="6350" cap="flat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lIns="60927" tIns="30463" rIns="60927" bIns="30463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40" name="Freeform 32"/>
            <p:cNvSpPr>
              <a:spLocks noChangeArrowheads="1"/>
            </p:cNvSpPr>
            <p:nvPr/>
          </p:nvSpPr>
          <p:spPr bwMode="auto">
            <a:xfrm>
              <a:off x="10680835" y="5602238"/>
              <a:ext cx="116287" cy="129546"/>
            </a:xfrm>
            <a:custGeom>
              <a:avLst/>
              <a:gdLst>
                <a:gd name="T0" fmla="*/ 149 w 269"/>
                <a:gd name="T1" fmla="*/ 8 h 298"/>
                <a:gd name="T2" fmla="*/ 149 w 269"/>
                <a:gd name="T3" fmla="*/ 8 h 298"/>
                <a:gd name="T4" fmla="*/ 112 w 269"/>
                <a:gd name="T5" fmla="*/ 8 h 298"/>
                <a:gd name="T6" fmla="*/ 97 w 269"/>
                <a:gd name="T7" fmla="*/ 30 h 298"/>
                <a:gd name="T8" fmla="*/ 75 w 269"/>
                <a:gd name="T9" fmla="*/ 23 h 298"/>
                <a:gd name="T10" fmla="*/ 52 w 269"/>
                <a:gd name="T11" fmla="*/ 45 h 298"/>
                <a:gd name="T12" fmla="*/ 60 w 269"/>
                <a:gd name="T13" fmla="*/ 82 h 298"/>
                <a:gd name="T14" fmla="*/ 60 w 269"/>
                <a:gd name="T15" fmla="*/ 104 h 298"/>
                <a:gd name="T16" fmla="*/ 60 w 269"/>
                <a:gd name="T17" fmla="*/ 112 h 298"/>
                <a:gd name="T18" fmla="*/ 60 w 269"/>
                <a:gd name="T19" fmla="*/ 126 h 298"/>
                <a:gd name="T20" fmla="*/ 45 w 269"/>
                <a:gd name="T21" fmla="*/ 134 h 298"/>
                <a:gd name="T22" fmla="*/ 37 w 269"/>
                <a:gd name="T23" fmla="*/ 149 h 298"/>
                <a:gd name="T24" fmla="*/ 22 w 269"/>
                <a:gd name="T25" fmla="*/ 149 h 298"/>
                <a:gd name="T26" fmla="*/ 15 w 269"/>
                <a:gd name="T27" fmla="*/ 171 h 298"/>
                <a:gd name="T28" fmla="*/ 0 w 269"/>
                <a:gd name="T29" fmla="*/ 186 h 298"/>
                <a:gd name="T30" fmla="*/ 8 w 269"/>
                <a:gd name="T31" fmla="*/ 201 h 298"/>
                <a:gd name="T32" fmla="*/ 22 w 269"/>
                <a:gd name="T33" fmla="*/ 215 h 298"/>
                <a:gd name="T34" fmla="*/ 22 w 269"/>
                <a:gd name="T35" fmla="*/ 223 h 298"/>
                <a:gd name="T36" fmla="*/ 45 w 269"/>
                <a:gd name="T37" fmla="*/ 223 h 298"/>
                <a:gd name="T38" fmla="*/ 67 w 269"/>
                <a:gd name="T39" fmla="*/ 215 h 298"/>
                <a:gd name="T40" fmla="*/ 82 w 269"/>
                <a:gd name="T41" fmla="*/ 215 h 298"/>
                <a:gd name="T42" fmla="*/ 90 w 269"/>
                <a:gd name="T43" fmla="*/ 215 h 298"/>
                <a:gd name="T44" fmla="*/ 97 w 269"/>
                <a:gd name="T45" fmla="*/ 208 h 298"/>
                <a:gd name="T46" fmla="*/ 112 w 269"/>
                <a:gd name="T47" fmla="*/ 223 h 298"/>
                <a:gd name="T48" fmla="*/ 127 w 269"/>
                <a:gd name="T49" fmla="*/ 223 h 298"/>
                <a:gd name="T50" fmla="*/ 127 w 269"/>
                <a:gd name="T51" fmla="*/ 230 h 298"/>
                <a:gd name="T52" fmla="*/ 141 w 269"/>
                <a:gd name="T53" fmla="*/ 230 h 298"/>
                <a:gd name="T54" fmla="*/ 141 w 269"/>
                <a:gd name="T55" fmla="*/ 245 h 298"/>
                <a:gd name="T56" fmla="*/ 141 w 269"/>
                <a:gd name="T57" fmla="*/ 260 h 298"/>
                <a:gd name="T58" fmla="*/ 156 w 269"/>
                <a:gd name="T59" fmla="*/ 275 h 298"/>
                <a:gd name="T60" fmla="*/ 164 w 269"/>
                <a:gd name="T61" fmla="*/ 282 h 298"/>
                <a:gd name="T62" fmla="*/ 164 w 269"/>
                <a:gd name="T63" fmla="*/ 290 h 298"/>
                <a:gd name="T64" fmla="*/ 208 w 269"/>
                <a:gd name="T65" fmla="*/ 275 h 298"/>
                <a:gd name="T66" fmla="*/ 208 w 269"/>
                <a:gd name="T67" fmla="*/ 245 h 298"/>
                <a:gd name="T68" fmla="*/ 230 w 269"/>
                <a:gd name="T69" fmla="*/ 238 h 298"/>
                <a:gd name="T70" fmla="*/ 245 w 269"/>
                <a:gd name="T71" fmla="*/ 245 h 298"/>
                <a:gd name="T72" fmla="*/ 245 w 269"/>
                <a:gd name="T73" fmla="*/ 245 h 298"/>
                <a:gd name="T74" fmla="*/ 208 w 269"/>
                <a:gd name="T75" fmla="*/ 208 h 298"/>
                <a:gd name="T76" fmla="*/ 245 w 269"/>
                <a:gd name="T77" fmla="*/ 245 h 298"/>
                <a:gd name="T78" fmla="*/ 245 w 269"/>
                <a:gd name="T79" fmla="*/ 208 h 298"/>
                <a:gd name="T80" fmla="*/ 245 w 269"/>
                <a:gd name="T81" fmla="*/ 178 h 298"/>
                <a:gd name="T82" fmla="*/ 245 w 269"/>
                <a:gd name="T83" fmla="*/ 149 h 298"/>
                <a:gd name="T84" fmla="*/ 245 w 269"/>
                <a:gd name="T85" fmla="*/ 126 h 298"/>
                <a:gd name="T86" fmla="*/ 245 w 269"/>
                <a:gd name="T87" fmla="*/ 104 h 298"/>
                <a:gd name="T88" fmla="*/ 230 w 269"/>
                <a:gd name="T89" fmla="*/ 104 h 298"/>
                <a:gd name="T90" fmla="*/ 216 w 269"/>
                <a:gd name="T91" fmla="*/ 89 h 298"/>
                <a:gd name="T92" fmla="*/ 216 w 269"/>
                <a:gd name="T93" fmla="*/ 82 h 298"/>
                <a:gd name="T94" fmla="*/ 208 w 269"/>
                <a:gd name="T95" fmla="*/ 82 h 298"/>
                <a:gd name="T96" fmla="*/ 201 w 269"/>
                <a:gd name="T97" fmla="*/ 67 h 298"/>
                <a:gd name="T98" fmla="*/ 201 w 269"/>
                <a:gd name="T99" fmla="*/ 60 h 298"/>
                <a:gd name="T100" fmla="*/ 193 w 269"/>
                <a:gd name="T101" fmla="*/ 60 h 298"/>
                <a:gd name="T102" fmla="*/ 186 w 269"/>
                <a:gd name="T103" fmla="*/ 45 h 298"/>
                <a:gd name="T104" fmla="*/ 193 w 269"/>
                <a:gd name="T105" fmla="*/ 37 h 298"/>
                <a:gd name="T106" fmla="*/ 178 w 269"/>
                <a:gd name="T107" fmla="*/ 15 h 298"/>
                <a:gd name="T108" fmla="*/ 164 w 269"/>
                <a:gd name="T109" fmla="*/ 23 h 298"/>
                <a:gd name="T110" fmla="*/ 156 w 269"/>
                <a:gd name="T111" fmla="*/ 15 h 298"/>
                <a:gd name="T112" fmla="*/ 156 w 269"/>
                <a:gd name="T113" fmla="*/ 60 h 298"/>
                <a:gd name="T114" fmla="*/ 156 w 269"/>
                <a:gd name="T115" fmla="*/ 15 h 298"/>
                <a:gd name="T116" fmla="*/ 149 w 269"/>
                <a:gd name="T117" fmla="*/ 15 h 298"/>
                <a:gd name="T118" fmla="*/ 149 w 269"/>
                <a:gd name="T119" fmla="*/ 8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69" h="298">
                  <a:moveTo>
                    <a:pt x="149" y="8"/>
                  </a:moveTo>
                  <a:lnTo>
                    <a:pt x="149" y="8"/>
                  </a:lnTo>
                  <a:cubicBezTo>
                    <a:pt x="134" y="8"/>
                    <a:pt x="119" y="0"/>
                    <a:pt x="112" y="8"/>
                  </a:cubicBezTo>
                  <a:cubicBezTo>
                    <a:pt x="104" y="15"/>
                    <a:pt x="104" y="23"/>
                    <a:pt x="97" y="30"/>
                  </a:cubicBezTo>
                  <a:cubicBezTo>
                    <a:pt x="90" y="30"/>
                    <a:pt x="82" y="23"/>
                    <a:pt x="75" y="23"/>
                  </a:cubicBezTo>
                  <a:cubicBezTo>
                    <a:pt x="67" y="30"/>
                    <a:pt x="60" y="37"/>
                    <a:pt x="52" y="45"/>
                  </a:cubicBezTo>
                  <a:cubicBezTo>
                    <a:pt x="52" y="52"/>
                    <a:pt x="52" y="75"/>
                    <a:pt x="60" y="82"/>
                  </a:cubicBezTo>
                  <a:cubicBezTo>
                    <a:pt x="67" y="89"/>
                    <a:pt x="52" y="97"/>
                    <a:pt x="60" y="104"/>
                  </a:cubicBezTo>
                  <a:cubicBezTo>
                    <a:pt x="60" y="104"/>
                    <a:pt x="67" y="104"/>
                    <a:pt x="60" y="112"/>
                  </a:cubicBezTo>
                  <a:lnTo>
                    <a:pt x="60" y="126"/>
                  </a:lnTo>
                  <a:cubicBezTo>
                    <a:pt x="52" y="126"/>
                    <a:pt x="45" y="126"/>
                    <a:pt x="45" y="134"/>
                  </a:cubicBezTo>
                  <a:cubicBezTo>
                    <a:pt x="37" y="141"/>
                    <a:pt x="45" y="141"/>
                    <a:pt x="37" y="149"/>
                  </a:cubicBezTo>
                  <a:cubicBezTo>
                    <a:pt x="30" y="149"/>
                    <a:pt x="22" y="149"/>
                    <a:pt x="22" y="149"/>
                  </a:cubicBezTo>
                  <a:cubicBezTo>
                    <a:pt x="15" y="156"/>
                    <a:pt x="15" y="164"/>
                    <a:pt x="15" y="171"/>
                  </a:cubicBezTo>
                  <a:cubicBezTo>
                    <a:pt x="8" y="178"/>
                    <a:pt x="0" y="171"/>
                    <a:pt x="0" y="186"/>
                  </a:cubicBezTo>
                  <a:cubicBezTo>
                    <a:pt x="0" y="193"/>
                    <a:pt x="0" y="201"/>
                    <a:pt x="8" y="201"/>
                  </a:cubicBezTo>
                  <a:cubicBezTo>
                    <a:pt x="15" y="201"/>
                    <a:pt x="22" y="215"/>
                    <a:pt x="22" y="215"/>
                  </a:cubicBezTo>
                  <a:cubicBezTo>
                    <a:pt x="15" y="223"/>
                    <a:pt x="15" y="230"/>
                    <a:pt x="22" y="223"/>
                  </a:cubicBezTo>
                  <a:cubicBezTo>
                    <a:pt x="30" y="223"/>
                    <a:pt x="37" y="223"/>
                    <a:pt x="45" y="223"/>
                  </a:cubicBezTo>
                  <a:cubicBezTo>
                    <a:pt x="60" y="223"/>
                    <a:pt x="60" y="223"/>
                    <a:pt x="67" y="215"/>
                  </a:cubicBezTo>
                  <a:cubicBezTo>
                    <a:pt x="75" y="215"/>
                    <a:pt x="75" y="223"/>
                    <a:pt x="82" y="215"/>
                  </a:cubicBezTo>
                  <a:cubicBezTo>
                    <a:pt x="90" y="215"/>
                    <a:pt x="90" y="215"/>
                    <a:pt x="90" y="215"/>
                  </a:cubicBezTo>
                  <a:cubicBezTo>
                    <a:pt x="75" y="208"/>
                    <a:pt x="90" y="201"/>
                    <a:pt x="97" y="208"/>
                  </a:cubicBezTo>
                  <a:cubicBezTo>
                    <a:pt x="97" y="215"/>
                    <a:pt x="104" y="223"/>
                    <a:pt x="112" y="223"/>
                  </a:cubicBezTo>
                  <a:cubicBezTo>
                    <a:pt x="119" y="223"/>
                    <a:pt x="119" y="223"/>
                    <a:pt x="127" y="223"/>
                  </a:cubicBezTo>
                  <a:lnTo>
                    <a:pt x="127" y="230"/>
                  </a:lnTo>
                  <a:cubicBezTo>
                    <a:pt x="134" y="230"/>
                    <a:pt x="141" y="230"/>
                    <a:pt x="141" y="230"/>
                  </a:cubicBezTo>
                  <a:cubicBezTo>
                    <a:pt x="141" y="238"/>
                    <a:pt x="141" y="238"/>
                    <a:pt x="141" y="245"/>
                  </a:cubicBezTo>
                  <a:cubicBezTo>
                    <a:pt x="134" y="253"/>
                    <a:pt x="134" y="260"/>
                    <a:pt x="141" y="260"/>
                  </a:cubicBezTo>
                  <a:cubicBezTo>
                    <a:pt x="141" y="267"/>
                    <a:pt x="156" y="267"/>
                    <a:pt x="156" y="275"/>
                  </a:cubicBezTo>
                  <a:cubicBezTo>
                    <a:pt x="156" y="282"/>
                    <a:pt x="156" y="282"/>
                    <a:pt x="164" y="282"/>
                  </a:cubicBezTo>
                  <a:cubicBezTo>
                    <a:pt x="164" y="290"/>
                    <a:pt x="164" y="290"/>
                    <a:pt x="164" y="290"/>
                  </a:cubicBezTo>
                  <a:cubicBezTo>
                    <a:pt x="178" y="297"/>
                    <a:pt x="201" y="282"/>
                    <a:pt x="208" y="275"/>
                  </a:cubicBezTo>
                  <a:cubicBezTo>
                    <a:pt x="208" y="260"/>
                    <a:pt x="193" y="260"/>
                    <a:pt x="208" y="245"/>
                  </a:cubicBezTo>
                  <a:cubicBezTo>
                    <a:pt x="216" y="245"/>
                    <a:pt x="223" y="238"/>
                    <a:pt x="230" y="238"/>
                  </a:cubicBezTo>
                  <a:cubicBezTo>
                    <a:pt x="238" y="245"/>
                    <a:pt x="238" y="253"/>
                    <a:pt x="245" y="245"/>
                  </a:cubicBezTo>
                  <a:lnTo>
                    <a:pt x="245" y="245"/>
                  </a:lnTo>
                  <a:cubicBezTo>
                    <a:pt x="230" y="230"/>
                    <a:pt x="216" y="208"/>
                    <a:pt x="208" y="208"/>
                  </a:cubicBezTo>
                  <a:cubicBezTo>
                    <a:pt x="216" y="208"/>
                    <a:pt x="230" y="230"/>
                    <a:pt x="245" y="245"/>
                  </a:cubicBezTo>
                  <a:cubicBezTo>
                    <a:pt x="260" y="230"/>
                    <a:pt x="253" y="215"/>
                    <a:pt x="245" y="208"/>
                  </a:cubicBezTo>
                  <a:cubicBezTo>
                    <a:pt x="230" y="201"/>
                    <a:pt x="230" y="186"/>
                    <a:pt x="245" y="178"/>
                  </a:cubicBezTo>
                  <a:cubicBezTo>
                    <a:pt x="268" y="171"/>
                    <a:pt x="253" y="164"/>
                    <a:pt x="245" y="149"/>
                  </a:cubicBezTo>
                  <a:cubicBezTo>
                    <a:pt x="245" y="141"/>
                    <a:pt x="245" y="134"/>
                    <a:pt x="245" y="126"/>
                  </a:cubicBezTo>
                  <a:cubicBezTo>
                    <a:pt x="253" y="126"/>
                    <a:pt x="253" y="112"/>
                    <a:pt x="245" y="104"/>
                  </a:cubicBezTo>
                  <a:cubicBezTo>
                    <a:pt x="238" y="104"/>
                    <a:pt x="230" y="119"/>
                    <a:pt x="230" y="104"/>
                  </a:cubicBezTo>
                  <a:cubicBezTo>
                    <a:pt x="223" y="97"/>
                    <a:pt x="223" y="97"/>
                    <a:pt x="216" y="89"/>
                  </a:cubicBezTo>
                  <a:cubicBezTo>
                    <a:pt x="216" y="89"/>
                    <a:pt x="216" y="89"/>
                    <a:pt x="216" y="82"/>
                  </a:cubicBezTo>
                  <a:cubicBezTo>
                    <a:pt x="208" y="82"/>
                    <a:pt x="208" y="82"/>
                    <a:pt x="208" y="82"/>
                  </a:cubicBezTo>
                  <a:cubicBezTo>
                    <a:pt x="201" y="75"/>
                    <a:pt x="201" y="67"/>
                    <a:pt x="201" y="67"/>
                  </a:cubicBezTo>
                  <a:cubicBezTo>
                    <a:pt x="201" y="67"/>
                    <a:pt x="201" y="67"/>
                    <a:pt x="201" y="60"/>
                  </a:cubicBezTo>
                  <a:lnTo>
                    <a:pt x="193" y="60"/>
                  </a:lnTo>
                  <a:cubicBezTo>
                    <a:pt x="193" y="60"/>
                    <a:pt x="178" y="52"/>
                    <a:pt x="186" y="45"/>
                  </a:cubicBezTo>
                  <a:cubicBezTo>
                    <a:pt x="186" y="37"/>
                    <a:pt x="201" y="52"/>
                    <a:pt x="193" y="37"/>
                  </a:cubicBezTo>
                  <a:cubicBezTo>
                    <a:pt x="193" y="37"/>
                    <a:pt x="186" y="15"/>
                    <a:pt x="178" y="15"/>
                  </a:cubicBezTo>
                  <a:cubicBezTo>
                    <a:pt x="171" y="15"/>
                    <a:pt x="171" y="23"/>
                    <a:pt x="164" y="23"/>
                  </a:cubicBezTo>
                  <a:cubicBezTo>
                    <a:pt x="164" y="23"/>
                    <a:pt x="156" y="23"/>
                    <a:pt x="156" y="15"/>
                  </a:cubicBezTo>
                  <a:cubicBezTo>
                    <a:pt x="156" y="30"/>
                    <a:pt x="156" y="45"/>
                    <a:pt x="156" y="60"/>
                  </a:cubicBezTo>
                  <a:cubicBezTo>
                    <a:pt x="156" y="45"/>
                    <a:pt x="156" y="30"/>
                    <a:pt x="156" y="15"/>
                  </a:cubicBezTo>
                  <a:lnTo>
                    <a:pt x="149" y="15"/>
                  </a:lnTo>
                  <a:cubicBezTo>
                    <a:pt x="149" y="15"/>
                    <a:pt x="149" y="15"/>
                    <a:pt x="149" y="8"/>
                  </a:cubicBezTo>
                </a:path>
              </a:pathLst>
            </a:custGeom>
            <a:grpFill/>
            <a:ln w="6350" cap="flat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lIns="60927" tIns="30463" rIns="60927" bIns="30463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41" name="Freeform 33"/>
            <p:cNvSpPr>
              <a:spLocks noChangeArrowheads="1"/>
            </p:cNvSpPr>
            <p:nvPr/>
          </p:nvSpPr>
          <p:spPr bwMode="auto">
            <a:xfrm>
              <a:off x="9672366" y="2927480"/>
              <a:ext cx="2077938" cy="1560276"/>
            </a:xfrm>
            <a:custGeom>
              <a:avLst/>
              <a:gdLst>
                <a:gd name="T0" fmla="*/ 1760 w 4806"/>
                <a:gd name="T1" fmla="*/ 3431 h 3610"/>
                <a:gd name="T2" fmla="*/ 1812 w 4806"/>
                <a:gd name="T3" fmla="*/ 3394 h 3610"/>
                <a:gd name="T4" fmla="*/ 1842 w 4806"/>
                <a:gd name="T5" fmla="*/ 3149 h 3610"/>
                <a:gd name="T6" fmla="*/ 1983 w 4806"/>
                <a:gd name="T7" fmla="*/ 3089 h 3610"/>
                <a:gd name="T8" fmla="*/ 2303 w 4806"/>
                <a:gd name="T9" fmla="*/ 2918 h 3610"/>
                <a:gd name="T10" fmla="*/ 2644 w 4806"/>
                <a:gd name="T11" fmla="*/ 3104 h 3610"/>
                <a:gd name="T12" fmla="*/ 3105 w 4806"/>
                <a:gd name="T13" fmla="*/ 3111 h 3610"/>
                <a:gd name="T14" fmla="*/ 3275 w 4806"/>
                <a:gd name="T15" fmla="*/ 3371 h 3610"/>
                <a:gd name="T16" fmla="*/ 3454 w 4806"/>
                <a:gd name="T17" fmla="*/ 3490 h 3610"/>
                <a:gd name="T18" fmla="*/ 3595 w 4806"/>
                <a:gd name="T19" fmla="*/ 3564 h 3610"/>
                <a:gd name="T20" fmla="*/ 3706 w 4806"/>
                <a:gd name="T21" fmla="*/ 3357 h 3610"/>
                <a:gd name="T22" fmla="*/ 3773 w 4806"/>
                <a:gd name="T23" fmla="*/ 3512 h 3610"/>
                <a:gd name="T24" fmla="*/ 3951 w 4806"/>
                <a:gd name="T25" fmla="*/ 3520 h 3610"/>
                <a:gd name="T26" fmla="*/ 4159 w 4806"/>
                <a:gd name="T27" fmla="*/ 3394 h 3610"/>
                <a:gd name="T28" fmla="*/ 4181 w 4806"/>
                <a:gd name="T29" fmla="*/ 3163 h 3610"/>
                <a:gd name="T30" fmla="*/ 3884 w 4806"/>
                <a:gd name="T31" fmla="*/ 2629 h 3610"/>
                <a:gd name="T32" fmla="*/ 3959 w 4806"/>
                <a:gd name="T33" fmla="*/ 2309 h 3610"/>
                <a:gd name="T34" fmla="*/ 4204 w 4806"/>
                <a:gd name="T35" fmla="*/ 2302 h 3610"/>
                <a:gd name="T36" fmla="*/ 4263 w 4806"/>
                <a:gd name="T37" fmla="*/ 2035 h 3610"/>
                <a:gd name="T38" fmla="*/ 4619 w 4806"/>
                <a:gd name="T39" fmla="*/ 1879 h 3610"/>
                <a:gd name="T40" fmla="*/ 4761 w 4806"/>
                <a:gd name="T41" fmla="*/ 1359 h 3610"/>
                <a:gd name="T42" fmla="*/ 4642 w 4806"/>
                <a:gd name="T43" fmla="*/ 1151 h 3610"/>
                <a:gd name="T44" fmla="*/ 4115 w 4806"/>
                <a:gd name="T45" fmla="*/ 973 h 3610"/>
                <a:gd name="T46" fmla="*/ 3632 w 4806"/>
                <a:gd name="T47" fmla="*/ 1091 h 3610"/>
                <a:gd name="T48" fmla="*/ 3461 w 4806"/>
                <a:gd name="T49" fmla="*/ 1181 h 3610"/>
                <a:gd name="T50" fmla="*/ 3090 w 4806"/>
                <a:gd name="T51" fmla="*/ 1240 h 3610"/>
                <a:gd name="T52" fmla="*/ 3001 w 4806"/>
                <a:gd name="T53" fmla="*/ 1114 h 3610"/>
                <a:gd name="T54" fmla="*/ 2726 w 4806"/>
                <a:gd name="T55" fmla="*/ 995 h 3610"/>
                <a:gd name="T56" fmla="*/ 2384 w 4806"/>
                <a:gd name="T57" fmla="*/ 616 h 3610"/>
                <a:gd name="T58" fmla="*/ 2072 w 4806"/>
                <a:gd name="T59" fmla="*/ 319 h 3610"/>
                <a:gd name="T60" fmla="*/ 1760 w 4806"/>
                <a:gd name="T61" fmla="*/ 82 h 3610"/>
                <a:gd name="T62" fmla="*/ 1456 w 4806"/>
                <a:gd name="T63" fmla="*/ 37 h 3610"/>
                <a:gd name="T64" fmla="*/ 1166 w 4806"/>
                <a:gd name="T65" fmla="*/ 67 h 3610"/>
                <a:gd name="T66" fmla="*/ 847 w 4806"/>
                <a:gd name="T67" fmla="*/ 141 h 3610"/>
                <a:gd name="T68" fmla="*/ 632 w 4806"/>
                <a:gd name="T69" fmla="*/ 186 h 3610"/>
                <a:gd name="T70" fmla="*/ 320 w 4806"/>
                <a:gd name="T71" fmla="*/ 349 h 3610"/>
                <a:gd name="T72" fmla="*/ 38 w 4806"/>
                <a:gd name="T73" fmla="*/ 549 h 3610"/>
                <a:gd name="T74" fmla="*/ 60 w 4806"/>
                <a:gd name="T75" fmla="*/ 728 h 3610"/>
                <a:gd name="T76" fmla="*/ 275 w 4806"/>
                <a:gd name="T77" fmla="*/ 780 h 3610"/>
                <a:gd name="T78" fmla="*/ 424 w 4806"/>
                <a:gd name="T79" fmla="*/ 928 h 3610"/>
                <a:gd name="T80" fmla="*/ 750 w 4806"/>
                <a:gd name="T81" fmla="*/ 1062 h 3610"/>
                <a:gd name="T82" fmla="*/ 780 w 4806"/>
                <a:gd name="T83" fmla="*/ 1292 h 3610"/>
                <a:gd name="T84" fmla="*/ 877 w 4806"/>
                <a:gd name="T85" fmla="*/ 1522 h 3610"/>
                <a:gd name="T86" fmla="*/ 713 w 4806"/>
                <a:gd name="T87" fmla="*/ 1589 h 3610"/>
                <a:gd name="T88" fmla="*/ 476 w 4806"/>
                <a:gd name="T89" fmla="*/ 1753 h 3610"/>
                <a:gd name="T90" fmla="*/ 498 w 4806"/>
                <a:gd name="T91" fmla="*/ 2205 h 3610"/>
                <a:gd name="T92" fmla="*/ 498 w 4806"/>
                <a:gd name="T93" fmla="*/ 2473 h 3610"/>
                <a:gd name="T94" fmla="*/ 505 w 4806"/>
                <a:gd name="T95" fmla="*/ 2703 h 3610"/>
                <a:gd name="T96" fmla="*/ 780 w 4806"/>
                <a:gd name="T97" fmla="*/ 2963 h 3610"/>
                <a:gd name="T98" fmla="*/ 1100 w 4806"/>
                <a:gd name="T99" fmla="*/ 3119 h 3610"/>
                <a:gd name="T100" fmla="*/ 1129 w 4806"/>
                <a:gd name="T101" fmla="*/ 3230 h 3610"/>
                <a:gd name="T102" fmla="*/ 1293 w 4806"/>
                <a:gd name="T103" fmla="*/ 3349 h 3610"/>
                <a:gd name="T104" fmla="*/ 1389 w 4806"/>
                <a:gd name="T105" fmla="*/ 3327 h 3610"/>
                <a:gd name="T106" fmla="*/ 1545 w 4806"/>
                <a:gd name="T107" fmla="*/ 3497 h 3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806" h="3610">
                  <a:moveTo>
                    <a:pt x="1619" y="3520"/>
                  </a:moveTo>
                  <a:lnTo>
                    <a:pt x="1619" y="3520"/>
                  </a:lnTo>
                  <a:cubicBezTo>
                    <a:pt x="1619" y="3483"/>
                    <a:pt x="1657" y="3490"/>
                    <a:pt x="1657" y="3468"/>
                  </a:cubicBezTo>
                  <a:cubicBezTo>
                    <a:pt x="1679" y="3460"/>
                    <a:pt x="1701" y="3468"/>
                    <a:pt x="1723" y="3468"/>
                  </a:cubicBezTo>
                  <a:cubicBezTo>
                    <a:pt x="1753" y="3460"/>
                    <a:pt x="1753" y="3453"/>
                    <a:pt x="1760" y="3431"/>
                  </a:cubicBezTo>
                  <a:cubicBezTo>
                    <a:pt x="1768" y="3401"/>
                    <a:pt x="1775" y="3408"/>
                    <a:pt x="1783" y="3408"/>
                  </a:cubicBezTo>
                  <a:cubicBezTo>
                    <a:pt x="1775" y="3394"/>
                    <a:pt x="1768" y="3371"/>
                    <a:pt x="1768" y="3364"/>
                  </a:cubicBezTo>
                  <a:cubicBezTo>
                    <a:pt x="1768" y="3371"/>
                    <a:pt x="1775" y="3394"/>
                    <a:pt x="1783" y="3408"/>
                  </a:cubicBezTo>
                  <a:cubicBezTo>
                    <a:pt x="1790" y="3408"/>
                    <a:pt x="1798" y="3408"/>
                    <a:pt x="1805" y="3408"/>
                  </a:cubicBezTo>
                  <a:cubicBezTo>
                    <a:pt x="1812" y="3401"/>
                    <a:pt x="1805" y="3394"/>
                    <a:pt x="1812" y="3394"/>
                  </a:cubicBezTo>
                  <a:cubicBezTo>
                    <a:pt x="1812" y="3394"/>
                    <a:pt x="1820" y="3394"/>
                    <a:pt x="1820" y="3386"/>
                  </a:cubicBezTo>
                  <a:cubicBezTo>
                    <a:pt x="1835" y="3379"/>
                    <a:pt x="1842" y="3379"/>
                    <a:pt x="1850" y="3371"/>
                  </a:cubicBezTo>
                  <a:cubicBezTo>
                    <a:pt x="1879" y="3342"/>
                    <a:pt x="1879" y="3297"/>
                    <a:pt x="1887" y="3252"/>
                  </a:cubicBezTo>
                  <a:cubicBezTo>
                    <a:pt x="1887" y="3230"/>
                    <a:pt x="1894" y="3208"/>
                    <a:pt x="1894" y="3178"/>
                  </a:cubicBezTo>
                  <a:cubicBezTo>
                    <a:pt x="1887" y="3149"/>
                    <a:pt x="1872" y="3149"/>
                    <a:pt x="1842" y="3149"/>
                  </a:cubicBezTo>
                  <a:cubicBezTo>
                    <a:pt x="1842" y="3126"/>
                    <a:pt x="1850" y="3111"/>
                    <a:pt x="1857" y="3089"/>
                  </a:cubicBezTo>
                  <a:cubicBezTo>
                    <a:pt x="1872" y="3089"/>
                    <a:pt x="1879" y="3082"/>
                    <a:pt x="1894" y="3082"/>
                  </a:cubicBezTo>
                  <a:cubicBezTo>
                    <a:pt x="1902" y="3104"/>
                    <a:pt x="1902" y="3111"/>
                    <a:pt x="1924" y="3119"/>
                  </a:cubicBezTo>
                  <a:cubicBezTo>
                    <a:pt x="1946" y="3126"/>
                    <a:pt x="1946" y="3126"/>
                    <a:pt x="1961" y="3111"/>
                  </a:cubicBezTo>
                  <a:cubicBezTo>
                    <a:pt x="1968" y="3104"/>
                    <a:pt x="1976" y="3097"/>
                    <a:pt x="1983" y="3089"/>
                  </a:cubicBezTo>
                  <a:cubicBezTo>
                    <a:pt x="1983" y="3089"/>
                    <a:pt x="1991" y="3089"/>
                    <a:pt x="1998" y="3082"/>
                  </a:cubicBezTo>
                  <a:cubicBezTo>
                    <a:pt x="2006" y="3074"/>
                    <a:pt x="2013" y="3060"/>
                    <a:pt x="2013" y="3045"/>
                  </a:cubicBezTo>
                  <a:cubicBezTo>
                    <a:pt x="2043" y="3037"/>
                    <a:pt x="2087" y="3052"/>
                    <a:pt x="2117" y="3037"/>
                  </a:cubicBezTo>
                  <a:cubicBezTo>
                    <a:pt x="2147" y="3022"/>
                    <a:pt x="2139" y="2978"/>
                    <a:pt x="2162" y="2955"/>
                  </a:cubicBezTo>
                  <a:cubicBezTo>
                    <a:pt x="2184" y="2896"/>
                    <a:pt x="2243" y="2911"/>
                    <a:pt x="2303" y="2918"/>
                  </a:cubicBezTo>
                  <a:cubicBezTo>
                    <a:pt x="2354" y="2918"/>
                    <a:pt x="2414" y="2918"/>
                    <a:pt x="2466" y="2926"/>
                  </a:cubicBezTo>
                  <a:cubicBezTo>
                    <a:pt x="2481" y="2948"/>
                    <a:pt x="2466" y="2970"/>
                    <a:pt x="2488" y="2992"/>
                  </a:cubicBezTo>
                  <a:cubicBezTo>
                    <a:pt x="2503" y="3007"/>
                    <a:pt x="2533" y="3007"/>
                    <a:pt x="2555" y="3007"/>
                  </a:cubicBezTo>
                  <a:cubicBezTo>
                    <a:pt x="2592" y="3015"/>
                    <a:pt x="2585" y="3015"/>
                    <a:pt x="2600" y="3045"/>
                  </a:cubicBezTo>
                  <a:cubicBezTo>
                    <a:pt x="2607" y="3067"/>
                    <a:pt x="2637" y="3082"/>
                    <a:pt x="2644" y="3104"/>
                  </a:cubicBezTo>
                  <a:cubicBezTo>
                    <a:pt x="2667" y="3111"/>
                    <a:pt x="2696" y="3104"/>
                    <a:pt x="2719" y="3104"/>
                  </a:cubicBezTo>
                  <a:cubicBezTo>
                    <a:pt x="2741" y="3111"/>
                    <a:pt x="2741" y="3119"/>
                    <a:pt x="2756" y="3141"/>
                  </a:cubicBezTo>
                  <a:cubicBezTo>
                    <a:pt x="2785" y="3178"/>
                    <a:pt x="2830" y="3186"/>
                    <a:pt x="2874" y="3178"/>
                  </a:cubicBezTo>
                  <a:cubicBezTo>
                    <a:pt x="2919" y="3178"/>
                    <a:pt x="2964" y="3163"/>
                    <a:pt x="3001" y="3149"/>
                  </a:cubicBezTo>
                  <a:cubicBezTo>
                    <a:pt x="3030" y="3141"/>
                    <a:pt x="3067" y="3104"/>
                    <a:pt x="3105" y="3111"/>
                  </a:cubicBezTo>
                  <a:cubicBezTo>
                    <a:pt x="3105" y="3134"/>
                    <a:pt x="3097" y="3163"/>
                    <a:pt x="3105" y="3186"/>
                  </a:cubicBezTo>
                  <a:cubicBezTo>
                    <a:pt x="3119" y="3200"/>
                    <a:pt x="3157" y="3208"/>
                    <a:pt x="3171" y="3230"/>
                  </a:cubicBezTo>
                  <a:cubicBezTo>
                    <a:pt x="3186" y="3245"/>
                    <a:pt x="3209" y="3275"/>
                    <a:pt x="3216" y="3297"/>
                  </a:cubicBezTo>
                  <a:cubicBezTo>
                    <a:pt x="3216" y="3319"/>
                    <a:pt x="3216" y="3342"/>
                    <a:pt x="3216" y="3364"/>
                  </a:cubicBezTo>
                  <a:cubicBezTo>
                    <a:pt x="3231" y="3371"/>
                    <a:pt x="3253" y="3364"/>
                    <a:pt x="3275" y="3371"/>
                  </a:cubicBezTo>
                  <a:cubicBezTo>
                    <a:pt x="3290" y="3371"/>
                    <a:pt x="3313" y="3386"/>
                    <a:pt x="3327" y="3379"/>
                  </a:cubicBezTo>
                  <a:cubicBezTo>
                    <a:pt x="3350" y="3379"/>
                    <a:pt x="3350" y="3357"/>
                    <a:pt x="3364" y="3349"/>
                  </a:cubicBezTo>
                  <a:cubicBezTo>
                    <a:pt x="3372" y="3342"/>
                    <a:pt x="3387" y="3349"/>
                    <a:pt x="3394" y="3349"/>
                  </a:cubicBezTo>
                  <a:cubicBezTo>
                    <a:pt x="3402" y="3342"/>
                    <a:pt x="3409" y="3334"/>
                    <a:pt x="3416" y="3327"/>
                  </a:cubicBezTo>
                  <a:cubicBezTo>
                    <a:pt x="3521" y="3275"/>
                    <a:pt x="3469" y="3446"/>
                    <a:pt x="3454" y="3490"/>
                  </a:cubicBezTo>
                  <a:cubicBezTo>
                    <a:pt x="3431" y="3483"/>
                    <a:pt x="3424" y="3512"/>
                    <a:pt x="3424" y="3527"/>
                  </a:cubicBezTo>
                  <a:cubicBezTo>
                    <a:pt x="3431" y="3520"/>
                    <a:pt x="3461" y="3512"/>
                    <a:pt x="3476" y="3512"/>
                  </a:cubicBezTo>
                  <a:cubicBezTo>
                    <a:pt x="3498" y="3520"/>
                    <a:pt x="3498" y="3527"/>
                    <a:pt x="3513" y="3542"/>
                  </a:cubicBezTo>
                  <a:cubicBezTo>
                    <a:pt x="3528" y="3564"/>
                    <a:pt x="3528" y="3564"/>
                    <a:pt x="3550" y="3564"/>
                  </a:cubicBezTo>
                  <a:cubicBezTo>
                    <a:pt x="3565" y="3564"/>
                    <a:pt x="3580" y="3564"/>
                    <a:pt x="3595" y="3564"/>
                  </a:cubicBezTo>
                  <a:cubicBezTo>
                    <a:pt x="3595" y="3557"/>
                    <a:pt x="3595" y="3550"/>
                    <a:pt x="3595" y="3542"/>
                  </a:cubicBezTo>
                  <a:cubicBezTo>
                    <a:pt x="3595" y="3512"/>
                    <a:pt x="3587" y="3490"/>
                    <a:pt x="3565" y="3468"/>
                  </a:cubicBezTo>
                  <a:cubicBezTo>
                    <a:pt x="3558" y="3460"/>
                    <a:pt x="3528" y="3460"/>
                    <a:pt x="3528" y="3446"/>
                  </a:cubicBezTo>
                  <a:cubicBezTo>
                    <a:pt x="3521" y="3431"/>
                    <a:pt x="3550" y="3423"/>
                    <a:pt x="3565" y="3423"/>
                  </a:cubicBezTo>
                  <a:cubicBezTo>
                    <a:pt x="3580" y="3364"/>
                    <a:pt x="3661" y="3371"/>
                    <a:pt x="3706" y="3357"/>
                  </a:cubicBezTo>
                  <a:cubicBezTo>
                    <a:pt x="3706" y="3342"/>
                    <a:pt x="3721" y="3334"/>
                    <a:pt x="3736" y="3312"/>
                  </a:cubicBezTo>
                  <a:cubicBezTo>
                    <a:pt x="3736" y="3312"/>
                    <a:pt x="3743" y="3312"/>
                    <a:pt x="3751" y="3312"/>
                  </a:cubicBezTo>
                  <a:cubicBezTo>
                    <a:pt x="3751" y="3364"/>
                    <a:pt x="3728" y="3408"/>
                    <a:pt x="3736" y="3453"/>
                  </a:cubicBezTo>
                  <a:cubicBezTo>
                    <a:pt x="3751" y="3460"/>
                    <a:pt x="3758" y="3460"/>
                    <a:pt x="3773" y="3468"/>
                  </a:cubicBezTo>
                  <a:cubicBezTo>
                    <a:pt x="3773" y="3483"/>
                    <a:pt x="3773" y="3497"/>
                    <a:pt x="3773" y="3512"/>
                  </a:cubicBezTo>
                  <a:cubicBezTo>
                    <a:pt x="3803" y="3512"/>
                    <a:pt x="3818" y="3535"/>
                    <a:pt x="3840" y="3557"/>
                  </a:cubicBezTo>
                  <a:cubicBezTo>
                    <a:pt x="3840" y="3557"/>
                    <a:pt x="3892" y="3609"/>
                    <a:pt x="3892" y="3594"/>
                  </a:cubicBezTo>
                  <a:cubicBezTo>
                    <a:pt x="3884" y="3557"/>
                    <a:pt x="3907" y="3557"/>
                    <a:pt x="3929" y="3542"/>
                  </a:cubicBezTo>
                  <a:cubicBezTo>
                    <a:pt x="3936" y="3535"/>
                    <a:pt x="3944" y="3542"/>
                    <a:pt x="3944" y="3542"/>
                  </a:cubicBezTo>
                  <a:cubicBezTo>
                    <a:pt x="3951" y="3535"/>
                    <a:pt x="3944" y="3527"/>
                    <a:pt x="3951" y="3520"/>
                  </a:cubicBezTo>
                  <a:cubicBezTo>
                    <a:pt x="3959" y="3512"/>
                    <a:pt x="3959" y="3505"/>
                    <a:pt x="3973" y="3497"/>
                  </a:cubicBezTo>
                  <a:cubicBezTo>
                    <a:pt x="3973" y="3490"/>
                    <a:pt x="4026" y="3490"/>
                    <a:pt x="4026" y="3490"/>
                  </a:cubicBezTo>
                  <a:cubicBezTo>
                    <a:pt x="4026" y="3453"/>
                    <a:pt x="4055" y="3423"/>
                    <a:pt x="4085" y="3401"/>
                  </a:cubicBezTo>
                  <a:cubicBezTo>
                    <a:pt x="4085" y="3423"/>
                    <a:pt x="4107" y="3446"/>
                    <a:pt x="4129" y="3438"/>
                  </a:cubicBezTo>
                  <a:cubicBezTo>
                    <a:pt x="4152" y="3438"/>
                    <a:pt x="4152" y="3416"/>
                    <a:pt x="4159" y="3394"/>
                  </a:cubicBezTo>
                  <a:cubicBezTo>
                    <a:pt x="4174" y="3371"/>
                    <a:pt x="4174" y="3371"/>
                    <a:pt x="4204" y="3357"/>
                  </a:cubicBezTo>
                  <a:cubicBezTo>
                    <a:pt x="4226" y="3349"/>
                    <a:pt x="4241" y="3334"/>
                    <a:pt x="4263" y="3334"/>
                  </a:cubicBezTo>
                  <a:cubicBezTo>
                    <a:pt x="4241" y="3305"/>
                    <a:pt x="4256" y="3275"/>
                    <a:pt x="4233" y="3245"/>
                  </a:cubicBezTo>
                  <a:cubicBezTo>
                    <a:pt x="4226" y="3230"/>
                    <a:pt x="4211" y="3223"/>
                    <a:pt x="4204" y="3208"/>
                  </a:cubicBezTo>
                  <a:cubicBezTo>
                    <a:pt x="4189" y="3200"/>
                    <a:pt x="4189" y="3178"/>
                    <a:pt x="4181" y="3163"/>
                  </a:cubicBezTo>
                  <a:cubicBezTo>
                    <a:pt x="4159" y="3134"/>
                    <a:pt x="4129" y="3111"/>
                    <a:pt x="4122" y="3074"/>
                  </a:cubicBezTo>
                  <a:cubicBezTo>
                    <a:pt x="4115" y="3030"/>
                    <a:pt x="4137" y="3007"/>
                    <a:pt x="4152" y="2978"/>
                  </a:cubicBezTo>
                  <a:cubicBezTo>
                    <a:pt x="4218" y="2881"/>
                    <a:pt x="4077" y="2896"/>
                    <a:pt x="4026" y="2889"/>
                  </a:cubicBezTo>
                  <a:cubicBezTo>
                    <a:pt x="3966" y="2874"/>
                    <a:pt x="3899" y="2814"/>
                    <a:pt x="3892" y="2755"/>
                  </a:cubicBezTo>
                  <a:cubicBezTo>
                    <a:pt x="3884" y="2710"/>
                    <a:pt x="3899" y="2666"/>
                    <a:pt x="3884" y="2629"/>
                  </a:cubicBezTo>
                  <a:lnTo>
                    <a:pt x="3981" y="2621"/>
                  </a:lnTo>
                  <a:cubicBezTo>
                    <a:pt x="3996" y="2592"/>
                    <a:pt x="3981" y="2592"/>
                    <a:pt x="3973" y="2577"/>
                  </a:cubicBezTo>
                  <a:cubicBezTo>
                    <a:pt x="3944" y="2510"/>
                    <a:pt x="3936" y="2428"/>
                    <a:pt x="3907" y="2361"/>
                  </a:cubicBezTo>
                  <a:cubicBezTo>
                    <a:pt x="3899" y="2354"/>
                    <a:pt x="3899" y="2354"/>
                    <a:pt x="3899" y="2354"/>
                  </a:cubicBezTo>
                  <a:cubicBezTo>
                    <a:pt x="3914" y="2339"/>
                    <a:pt x="3944" y="2317"/>
                    <a:pt x="3959" y="2309"/>
                  </a:cubicBezTo>
                  <a:cubicBezTo>
                    <a:pt x="3981" y="2309"/>
                    <a:pt x="3988" y="2324"/>
                    <a:pt x="4003" y="2324"/>
                  </a:cubicBezTo>
                  <a:cubicBezTo>
                    <a:pt x="4018" y="2332"/>
                    <a:pt x="4033" y="2324"/>
                    <a:pt x="4048" y="2324"/>
                  </a:cubicBezTo>
                  <a:cubicBezTo>
                    <a:pt x="4077" y="2332"/>
                    <a:pt x="4092" y="2354"/>
                    <a:pt x="4129" y="2347"/>
                  </a:cubicBezTo>
                  <a:cubicBezTo>
                    <a:pt x="4159" y="2347"/>
                    <a:pt x="4181" y="2339"/>
                    <a:pt x="4218" y="2347"/>
                  </a:cubicBezTo>
                  <a:cubicBezTo>
                    <a:pt x="4211" y="2339"/>
                    <a:pt x="4204" y="2309"/>
                    <a:pt x="4204" y="2302"/>
                  </a:cubicBezTo>
                  <a:cubicBezTo>
                    <a:pt x="4211" y="2280"/>
                    <a:pt x="4226" y="2287"/>
                    <a:pt x="4241" y="2280"/>
                  </a:cubicBezTo>
                  <a:cubicBezTo>
                    <a:pt x="4271" y="2258"/>
                    <a:pt x="4293" y="2235"/>
                    <a:pt x="4293" y="2198"/>
                  </a:cubicBezTo>
                  <a:cubicBezTo>
                    <a:pt x="4293" y="2183"/>
                    <a:pt x="4278" y="2176"/>
                    <a:pt x="4285" y="2153"/>
                  </a:cubicBezTo>
                  <a:cubicBezTo>
                    <a:pt x="4285" y="2139"/>
                    <a:pt x="4300" y="2124"/>
                    <a:pt x="4300" y="2101"/>
                  </a:cubicBezTo>
                  <a:cubicBezTo>
                    <a:pt x="4293" y="2087"/>
                    <a:pt x="4278" y="2050"/>
                    <a:pt x="4263" y="2035"/>
                  </a:cubicBezTo>
                  <a:cubicBezTo>
                    <a:pt x="4300" y="2035"/>
                    <a:pt x="4322" y="2027"/>
                    <a:pt x="4360" y="2027"/>
                  </a:cubicBezTo>
                  <a:cubicBezTo>
                    <a:pt x="4374" y="2027"/>
                    <a:pt x="4412" y="2035"/>
                    <a:pt x="4426" y="2020"/>
                  </a:cubicBezTo>
                  <a:cubicBezTo>
                    <a:pt x="4434" y="2012"/>
                    <a:pt x="4426" y="1983"/>
                    <a:pt x="4434" y="1968"/>
                  </a:cubicBezTo>
                  <a:cubicBezTo>
                    <a:pt x="4441" y="1931"/>
                    <a:pt x="4478" y="1908"/>
                    <a:pt x="4508" y="1893"/>
                  </a:cubicBezTo>
                  <a:cubicBezTo>
                    <a:pt x="4545" y="1871"/>
                    <a:pt x="4582" y="1879"/>
                    <a:pt x="4619" y="1879"/>
                  </a:cubicBezTo>
                  <a:cubicBezTo>
                    <a:pt x="4619" y="1834"/>
                    <a:pt x="4619" y="1804"/>
                    <a:pt x="4642" y="1767"/>
                  </a:cubicBezTo>
                  <a:cubicBezTo>
                    <a:pt x="4657" y="1753"/>
                    <a:pt x="4664" y="1738"/>
                    <a:pt x="4671" y="1723"/>
                  </a:cubicBezTo>
                  <a:cubicBezTo>
                    <a:pt x="4679" y="1700"/>
                    <a:pt x="4679" y="1678"/>
                    <a:pt x="4701" y="1671"/>
                  </a:cubicBezTo>
                  <a:cubicBezTo>
                    <a:pt x="4701" y="1619"/>
                    <a:pt x="4686" y="1530"/>
                    <a:pt x="4746" y="1522"/>
                  </a:cubicBezTo>
                  <a:cubicBezTo>
                    <a:pt x="4775" y="1470"/>
                    <a:pt x="4738" y="1411"/>
                    <a:pt x="4761" y="1359"/>
                  </a:cubicBezTo>
                  <a:cubicBezTo>
                    <a:pt x="4775" y="1329"/>
                    <a:pt x="4805" y="1337"/>
                    <a:pt x="4790" y="1292"/>
                  </a:cubicBezTo>
                  <a:cubicBezTo>
                    <a:pt x="4775" y="1270"/>
                    <a:pt x="4761" y="1262"/>
                    <a:pt x="4753" y="1240"/>
                  </a:cubicBezTo>
                  <a:cubicBezTo>
                    <a:pt x="4746" y="1233"/>
                    <a:pt x="4738" y="1225"/>
                    <a:pt x="4731" y="1225"/>
                  </a:cubicBezTo>
                  <a:cubicBezTo>
                    <a:pt x="4716" y="1218"/>
                    <a:pt x="4701" y="1225"/>
                    <a:pt x="4694" y="1218"/>
                  </a:cubicBezTo>
                  <a:cubicBezTo>
                    <a:pt x="4664" y="1203"/>
                    <a:pt x="4657" y="1166"/>
                    <a:pt x="4642" y="1151"/>
                  </a:cubicBezTo>
                  <a:cubicBezTo>
                    <a:pt x="4605" y="1099"/>
                    <a:pt x="4582" y="1084"/>
                    <a:pt x="4523" y="1099"/>
                  </a:cubicBezTo>
                  <a:cubicBezTo>
                    <a:pt x="4463" y="1106"/>
                    <a:pt x="4426" y="1084"/>
                    <a:pt x="4374" y="1069"/>
                  </a:cubicBezTo>
                  <a:cubicBezTo>
                    <a:pt x="4330" y="1054"/>
                    <a:pt x="4263" y="1010"/>
                    <a:pt x="4226" y="1010"/>
                  </a:cubicBezTo>
                  <a:cubicBezTo>
                    <a:pt x="4226" y="988"/>
                    <a:pt x="4218" y="965"/>
                    <a:pt x="4189" y="958"/>
                  </a:cubicBezTo>
                  <a:cubicBezTo>
                    <a:pt x="4159" y="951"/>
                    <a:pt x="4144" y="980"/>
                    <a:pt x="4115" y="973"/>
                  </a:cubicBezTo>
                  <a:cubicBezTo>
                    <a:pt x="4100" y="995"/>
                    <a:pt x="4107" y="1032"/>
                    <a:pt x="4077" y="1040"/>
                  </a:cubicBezTo>
                  <a:cubicBezTo>
                    <a:pt x="4055" y="1047"/>
                    <a:pt x="4011" y="1040"/>
                    <a:pt x="3988" y="1032"/>
                  </a:cubicBezTo>
                  <a:cubicBezTo>
                    <a:pt x="3936" y="1025"/>
                    <a:pt x="3862" y="1010"/>
                    <a:pt x="3810" y="1017"/>
                  </a:cubicBezTo>
                  <a:cubicBezTo>
                    <a:pt x="3780" y="1025"/>
                    <a:pt x="3758" y="1054"/>
                    <a:pt x="3721" y="1062"/>
                  </a:cubicBezTo>
                  <a:cubicBezTo>
                    <a:pt x="3691" y="1069"/>
                    <a:pt x="3661" y="1077"/>
                    <a:pt x="3632" y="1091"/>
                  </a:cubicBezTo>
                  <a:cubicBezTo>
                    <a:pt x="3617" y="1106"/>
                    <a:pt x="3610" y="1114"/>
                    <a:pt x="3587" y="1114"/>
                  </a:cubicBezTo>
                  <a:cubicBezTo>
                    <a:pt x="3572" y="1121"/>
                    <a:pt x="3558" y="1114"/>
                    <a:pt x="3543" y="1114"/>
                  </a:cubicBezTo>
                  <a:cubicBezTo>
                    <a:pt x="3528" y="1121"/>
                    <a:pt x="3521" y="1136"/>
                    <a:pt x="3513" y="1143"/>
                  </a:cubicBezTo>
                  <a:cubicBezTo>
                    <a:pt x="3498" y="1151"/>
                    <a:pt x="3483" y="1151"/>
                    <a:pt x="3469" y="1151"/>
                  </a:cubicBezTo>
                  <a:cubicBezTo>
                    <a:pt x="3469" y="1166"/>
                    <a:pt x="3461" y="1173"/>
                    <a:pt x="3461" y="1181"/>
                  </a:cubicBezTo>
                  <a:cubicBezTo>
                    <a:pt x="3424" y="1188"/>
                    <a:pt x="3379" y="1173"/>
                    <a:pt x="3342" y="1181"/>
                  </a:cubicBezTo>
                  <a:cubicBezTo>
                    <a:pt x="3298" y="1188"/>
                    <a:pt x="3313" y="1203"/>
                    <a:pt x="3290" y="1233"/>
                  </a:cubicBezTo>
                  <a:cubicBezTo>
                    <a:pt x="3268" y="1255"/>
                    <a:pt x="3253" y="1240"/>
                    <a:pt x="3231" y="1233"/>
                  </a:cubicBezTo>
                  <a:cubicBezTo>
                    <a:pt x="3201" y="1218"/>
                    <a:pt x="3201" y="1225"/>
                    <a:pt x="3164" y="1233"/>
                  </a:cubicBezTo>
                  <a:cubicBezTo>
                    <a:pt x="3142" y="1240"/>
                    <a:pt x="3112" y="1240"/>
                    <a:pt x="3090" y="1240"/>
                  </a:cubicBezTo>
                  <a:cubicBezTo>
                    <a:pt x="3067" y="1240"/>
                    <a:pt x="3045" y="1233"/>
                    <a:pt x="3023" y="1233"/>
                  </a:cubicBezTo>
                  <a:cubicBezTo>
                    <a:pt x="3001" y="1233"/>
                    <a:pt x="2956" y="1255"/>
                    <a:pt x="2941" y="1248"/>
                  </a:cubicBezTo>
                  <a:cubicBezTo>
                    <a:pt x="2882" y="1225"/>
                    <a:pt x="3008" y="1166"/>
                    <a:pt x="3038" y="1166"/>
                  </a:cubicBezTo>
                  <a:cubicBezTo>
                    <a:pt x="3038" y="1143"/>
                    <a:pt x="3038" y="1136"/>
                    <a:pt x="3023" y="1121"/>
                  </a:cubicBezTo>
                  <a:cubicBezTo>
                    <a:pt x="3016" y="1114"/>
                    <a:pt x="3008" y="1114"/>
                    <a:pt x="3001" y="1114"/>
                  </a:cubicBezTo>
                  <a:cubicBezTo>
                    <a:pt x="2993" y="1106"/>
                    <a:pt x="2993" y="1091"/>
                    <a:pt x="2986" y="1084"/>
                  </a:cubicBezTo>
                  <a:cubicBezTo>
                    <a:pt x="2956" y="1054"/>
                    <a:pt x="2934" y="1069"/>
                    <a:pt x="2897" y="1062"/>
                  </a:cubicBezTo>
                  <a:cubicBezTo>
                    <a:pt x="2882" y="1054"/>
                    <a:pt x="2859" y="1054"/>
                    <a:pt x="2852" y="1047"/>
                  </a:cubicBezTo>
                  <a:cubicBezTo>
                    <a:pt x="2837" y="1032"/>
                    <a:pt x="2837" y="1010"/>
                    <a:pt x="2830" y="1002"/>
                  </a:cubicBezTo>
                  <a:cubicBezTo>
                    <a:pt x="2808" y="988"/>
                    <a:pt x="2756" y="995"/>
                    <a:pt x="2726" y="995"/>
                  </a:cubicBezTo>
                  <a:cubicBezTo>
                    <a:pt x="2674" y="988"/>
                    <a:pt x="2659" y="995"/>
                    <a:pt x="2622" y="951"/>
                  </a:cubicBezTo>
                  <a:cubicBezTo>
                    <a:pt x="2577" y="913"/>
                    <a:pt x="2600" y="869"/>
                    <a:pt x="2585" y="817"/>
                  </a:cubicBezTo>
                  <a:cubicBezTo>
                    <a:pt x="2585" y="794"/>
                    <a:pt x="2570" y="765"/>
                    <a:pt x="2548" y="743"/>
                  </a:cubicBezTo>
                  <a:cubicBezTo>
                    <a:pt x="2525" y="713"/>
                    <a:pt x="2503" y="720"/>
                    <a:pt x="2466" y="713"/>
                  </a:cubicBezTo>
                  <a:cubicBezTo>
                    <a:pt x="2407" y="705"/>
                    <a:pt x="2407" y="661"/>
                    <a:pt x="2384" y="616"/>
                  </a:cubicBezTo>
                  <a:cubicBezTo>
                    <a:pt x="2354" y="572"/>
                    <a:pt x="2295" y="609"/>
                    <a:pt x="2251" y="586"/>
                  </a:cubicBezTo>
                  <a:cubicBezTo>
                    <a:pt x="2228" y="572"/>
                    <a:pt x="2221" y="549"/>
                    <a:pt x="2206" y="535"/>
                  </a:cubicBezTo>
                  <a:cubicBezTo>
                    <a:pt x="2191" y="512"/>
                    <a:pt x="2169" y="512"/>
                    <a:pt x="2154" y="497"/>
                  </a:cubicBezTo>
                  <a:cubicBezTo>
                    <a:pt x="2139" y="475"/>
                    <a:pt x="2117" y="438"/>
                    <a:pt x="2109" y="416"/>
                  </a:cubicBezTo>
                  <a:cubicBezTo>
                    <a:pt x="2095" y="379"/>
                    <a:pt x="2095" y="349"/>
                    <a:pt x="2072" y="319"/>
                  </a:cubicBezTo>
                  <a:cubicBezTo>
                    <a:pt x="2035" y="267"/>
                    <a:pt x="1976" y="208"/>
                    <a:pt x="1902" y="238"/>
                  </a:cubicBezTo>
                  <a:cubicBezTo>
                    <a:pt x="1887" y="245"/>
                    <a:pt x="1894" y="260"/>
                    <a:pt x="1872" y="267"/>
                  </a:cubicBezTo>
                  <a:cubicBezTo>
                    <a:pt x="1850" y="275"/>
                    <a:pt x="1835" y="260"/>
                    <a:pt x="1827" y="245"/>
                  </a:cubicBezTo>
                  <a:cubicBezTo>
                    <a:pt x="1820" y="215"/>
                    <a:pt x="1835" y="163"/>
                    <a:pt x="1835" y="134"/>
                  </a:cubicBezTo>
                  <a:cubicBezTo>
                    <a:pt x="1835" y="82"/>
                    <a:pt x="1812" y="89"/>
                    <a:pt x="1760" y="82"/>
                  </a:cubicBezTo>
                  <a:cubicBezTo>
                    <a:pt x="1723" y="82"/>
                    <a:pt x="1686" y="82"/>
                    <a:pt x="1657" y="67"/>
                  </a:cubicBezTo>
                  <a:cubicBezTo>
                    <a:pt x="1649" y="67"/>
                    <a:pt x="1649" y="59"/>
                    <a:pt x="1642" y="52"/>
                  </a:cubicBezTo>
                  <a:cubicBezTo>
                    <a:pt x="1634" y="52"/>
                    <a:pt x="1619" y="52"/>
                    <a:pt x="1612" y="52"/>
                  </a:cubicBezTo>
                  <a:cubicBezTo>
                    <a:pt x="1590" y="52"/>
                    <a:pt x="1575" y="52"/>
                    <a:pt x="1552" y="59"/>
                  </a:cubicBezTo>
                  <a:cubicBezTo>
                    <a:pt x="1508" y="67"/>
                    <a:pt x="1478" y="96"/>
                    <a:pt x="1456" y="37"/>
                  </a:cubicBezTo>
                  <a:cubicBezTo>
                    <a:pt x="1441" y="37"/>
                    <a:pt x="1441" y="15"/>
                    <a:pt x="1426" y="7"/>
                  </a:cubicBezTo>
                  <a:cubicBezTo>
                    <a:pt x="1412" y="0"/>
                    <a:pt x="1374" y="7"/>
                    <a:pt x="1360" y="15"/>
                  </a:cubicBezTo>
                  <a:cubicBezTo>
                    <a:pt x="1337" y="22"/>
                    <a:pt x="1345" y="44"/>
                    <a:pt x="1322" y="52"/>
                  </a:cubicBezTo>
                  <a:cubicBezTo>
                    <a:pt x="1300" y="67"/>
                    <a:pt x="1293" y="44"/>
                    <a:pt x="1270" y="37"/>
                  </a:cubicBezTo>
                  <a:cubicBezTo>
                    <a:pt x="1226" y="30"/>
                    <a:pt x="1204" y="52"/>
                    <a:pt x="1166" y="67"/>
                  </a:cubicBezTo>
                  <a:cubicBezTo>
                    <a:pt x="1122" y="74"/>
                    <a:pt x="1100" y="89"/>
                    <a:pt x="1055" y="89"/>
                  </a:cubicBezTo>
                  <a:cubicBezTo>
                    <a:pt x="1048" y="104"/>
                    <a:pt x="1048" y="111"/>
                    <a:pt x="1048" y="126"/>
                  </a:cubicBezTo>
                  <a:cubicBezTo>
                    <a:pt x="988" y="126"/>
                    <a:pt x="958" y="111"/>
                    <a:pt x="907" y="96"/>
                  </a:cubicBezTo>
                  <a:cubicBezTo>
                    <a:pt x="869" y="89"/>
                    <a:pt x="780" y="59"/>
                    <a:pt x="743" y="82"/>
                  </a:cubicBezTo>
                  <a:cubicBezTo>
                    <a:pt x="788" y="104"/>
                    <a:pt x="832" y="74"/>
                    <a:pt x="847" y="141"/>
                  </a:cubicBezTo>
                  <a:cubicBezTo>
                    <a:pt x="855" y="141"/>
                    <a:pt x="862" y="149"/>
                    <a:pt x="877" y="156"/>
                  </a:cubicBezTo>
                  <a:cubicBezTo>
                    <a:pt x="877" y="171"/>
                    <a:pt x="877" y="178"/>
                    <a:pt x="877" y="193"/>
                  </a:cubicBezTo>
                  <a:cubicBezTo>
                    <a:pt x="855" y="200"/>
                    <a:pt x="840" y="200"/>
                    <a:pt x="817" y="200"/>
                  </a:cubicBezTo>
                  <a:cubicBezTo>
                    <a:pt x="795" y="200"/>
                    <a:pt x="773" y="208"/>
                    <a:pt x="750" y="215"/>
                  </a:cubicBezTo>
                  <a:cubicBezTo>
                    <a:pt x="698" y="223"/>
                    <a:pt x="676" y="193"/>
                    <a:pt x="632" y="186"/>
                  </a:cubicBezTo>
                  <a:cubicBezTo>
                    <a:pt x="587" y="171"/>
                    <a:pt x="543" y="186"/>
                    <a:pt x="498" y="186"/>
                  </a:cubicBezTo>
                  <a:cubicBezTo>
                    <a:pt x="483" y="186"/>
                    <a:pt x="446" y="178"/>
                    <a:pt x="431" y="186"/>
                  </a:cubicBezTo>
                  <a:cubicBezTo>
                    <a:pt x="416" y="193"/>
                    <a:pt x="402" y="215"/>
                    <a:pt x="387" y="230"/>
                  </a:cubicBezTo>
                  <a:cubicBezTo>
                    <a:pt x="387" y="260"/>
                    <a:pt x="372" y="275"/>
                    <a:pt x="342" y="275"/>
                  </a:cubicBezTo>
                  <a:cubicBezTo>
                    <a:pt x="335" y="297"/>
                    <a:pt x="327" y="327"/>
                    <a:pt x="320" y="349"/>
                  </a:cubicBezTo>
                  <a:cubicBezTo>
                    <a:pt x="298" y="356"/>
                    <a:pt x="275" y="349"/>
                    <a:pt x="253" y="349"/>
                  </a:cubicBezTo>
                  <a:cubicBezTo>
                    <a:pt x="253" y="431"/>
                    <a:pt x="142" y="416"/>
                    <a:pt x="134" y="490"/>
                  </a:cubicBezTo>
                  <a:cubicBezTo>
                    <a:pt x="127" y="490"/>
                    <a:pt x="127" y="490"/>
                    <a:pt x="127" y="497"/>
                  </a:cubicBezTo>
                  <a:cubicBezTo>
                    <a:pt x="90" y="505"/>
                    <a:pt x="75" y="460"/>
                    <a:pt x="45" y="505"/>
                  </a:cubicBezTo>
                  <a:cubicBezTo>
                    <a:pt x="38" y="520"/>
                    <a:pt x="45" y="535"/>
                    <a:pt x="38" y="549"/>
                  </a:cubicBezTo>
                  <a:cubicBezTo>
                    <a:pt x="38" y="564"/>
                    <a:pt x="8" y="586"/>
                    <a:pt x="8" y="594"/>
                  </a:cubicBezTo>
                  <a:cubicBezTo>
                    <a:pt x="8" y="609"/>
                    <a:pt x="15" y="609"/>
                    <a:pt x="23" y="624"/>
                  </a:cubicBezTo>
                  <a:cubicBezTo>
                    <a:pt x="30" y="646"/>
                    <a:pt x="30" y="668"/>
                    <a:pt x="23" y="698"/>
                  </a:cubicBezTo>
                  <a:cubicBezTo>
                    <a:pt x="15" y="705"/>
                    <a:pt x="0" y="713"/>
                    <a:pt x="15" y="728"/>
                  </a:cubicBezTo>
                  <a:cubicBezTo>
                    <a:pt x="15" y="728"/>
                    <a:pt x="53" y="728"/>
                    <a:pt x="60" y="728"/>
                  </a:cubicBezTo>
                  <a:cubicBezTo>
                    <a:pt x="45" y="765"/>
                    <a:pt x="112" y="750"/>
                    <a:pt x="105" y="794"/>
                  </a:cubicBezTo>
                  <a:cubicBezTo>
                    <a:pt x="134" y="794"/>
                    <a:pt x="142" y="757"/>
                    <a:pt x="179" y="765"/>
                  </a:cubicBezTo>
                  <a:cubicBezTo>
                    <a:pt x="179" y="772"/>
                    <a:pt x="179" y="772"/>
                    <a:pt x="179" y="772"/>
                  </a:cubicBezTo>
                  <a:cubicBezTo>
                    <a:pt x="208" y="780"/>
                    <a:pt x="231" y="750"/>
                    <a:pt x="260" y="765"/>
                  </a:cubicBezTo>
                  <a:cubicBezTo>
                    <a:pt x="268" y="765"/>
                    <a:pt x="268" y="780"/>
                    <a:pt x="275" y="780"/>
                  </a:cubicBezTo>
                  <a:cubicBezTo>
                    <a:pt x="283" y="787"/>
                    <a:pt x="290" y="780"/>
                    <a:pt x="298" y="780"/>
                  </a:cubicBezTo>
                  <a:cubicBezTo>
                    <a:pt x="313" y="787"/>
                    <a:pt x="327" y="787"/>
                    <a:pt x="342" y="787"/>
                  </a:cubicBezTo>
                  <a:cubicBezTo>
                    <a:pt x="342" y="809"/>
                    <a:pt x="364" y="824"/>
                    <a:pt x="372" y="839"/>
                  </a:cubicBezTo>
                  <a:cubicBezTo>
                    <a:pt x="379" y="861"/>
                    <a:pt x="372" y="884"/>
                    <a:pt x="379" y="898"/>
                  </a:cubicBezTo>
                  <a:cubicBezTo>
                    <a:pt x="387" y="936"/>
                    <a:pt x="402" y="913"/>
                    <a:pt x="424" y="928"/>
                  </a:cubicBezTo>
                  <a:cubicBezTo>
                    <a:pt x="446" y="943"/>
                    <a:pt x="431" y="973"/>
                    <a:pt x="461" y="965"/>
                  </a:cubicBezTo>
                  <a:cubicBezTo>
                    <a:pt x="476" y="988"/>
                    <a:pt x="505" y="973"/>
                    <a:pt x="528" y="988"/>
                  </a:cubicBezTo>
                  <a:cubicBezTo>
                    <a:pt x="543" y="995"/>
                    <a:pt x="550" y="1017"/>
                    <a:pt x="558" y="1025"/>
                  </a:cubicBezTo>
                  <a:cubicBezTo>
                    <a:pt x="572" y="1032"/>
                    <a:pt x="587" y="1040"/>
                    <a:pt x="602" y="1040"/>
                  </a:cubicBezTo>
                  <a:cubicBezTo>
                    <a:pt x="654" y="1054"/>
                    <a:pt x="706" y="1032"/>
                    <a:pt x="750" y="1062"/>
                  </a:cubicBezTo>
                  <a:cubicBezTo>
                    <a:pt x="750" y="1069"/>
                    <a:pt x="750" y="1084"/>
                    <a:pt x="750" y="1099"/>
                  </a:cubicBezTo>
                  <a:cubicBezTo>
                    <a:pt x="736" y="1099"/>
                    <a:pt x="736" y="1106"/>
                    <a:pt x="736" y="1121"/>
                  </a:cubicBezTo>
                  <a:cubicBezTo>
                    <a:pt x="684" y="1121"/>
                    <a:pt x="669" y="1233"/>
                    <a:pt x="713" y="1255"/>
                  </a:cubicBezTo>
                  <a:cubicBezTo>
                    <a:pt x="721" y="1262"/>
                    <a:pt x="743" y="1255"/>
                    <a:pt x="750" y="1255"/>
                  </a:cubicBezTo>
                  <a:cubicBezTo>
                    <a:pt x="773" y="1262"/>
                    <a:pt x="765" y="1285"/>
                    <a:pt x="780" y="1292"/>
                  </a:cubicBezTo>
                  <a:cubicBezTo>
                    <a:pt x="803" y="1307"/>
                    <a:pt x="840" y="1314"/>
                    <a:pt x="847" y="1344"/>
                  </a:cubicBezTo>
                  <a:cubicBezTo>
                    <a:pt x="877" y="1344"/>
                    <a:pt x="914" y="1337"/>
                    <a:pt x="921" y="1366"/>
                  </a:cubicBezTo>
                  <a:cubicBezTo>
                    <a:pt x="936" y="1388"/>
                    <a:pt x="914" y="1418"/>
                    <a:pt x="899" y="1441"/>
                  </a:cubicBezTo>
                  <a:cubicBezTo>
                    <a:pt x="892" y="1455"/>
                    <a:pt x="884" y="1463"/>
                    <a:pt x="884" y="1478"/>
                  </a:cubicBezTo>
                  <a:cubicBezTo>
                    <a:pt x="884" y="1493"/>
                    <a:pt x="892" y="1507"/>
                    <a:pt x="877" y="1522"/>
                  </a:cubicBezTo>
                  <a:cubicBezTo>
                    <a:pt x="877" y="1530"/>
                    <a:pt x="855" y="1530"/>
                    <a:pt x="840" y="1537"/>
                  </a:cubicBezTo>
                  <a:cubicBezTo>
                    <a:pt x="832" y="1545"/>
                    <a:pt x="825" y="1567"/>
                    <a:pt x="825" y="1574"/>
                  </a:cubicBezTo>
                  <a:cubicBezTo>
                    <a:pt x="803" y="1574"/>
                    <a:pt x="788" y="1574"/>
                    <a:pt x="765" y="1574"/>
                  </a:cubicBezTo>
                  <a:cubicBezTo>
                    <a:pt x="758" y="1574"/>
                    <a:pt x="743" y="1574"/>
                    <a:pt x="736" y="1574"/>
                  </a:cubicBezTo>
                  <a:cubicBezTo>
                    <a:pt x="721" y="1582"/>
                    <a:pt x="713" y="1589"/>
                    <a:pt x="713" y="1589"/>
                  </a:cubicBezTo>
                  <a:cubicBezTo>
                    <a:pt x="698" y="1596"/>
                    <a:pt x="661" y="1596"/>
                    <a:pt x="654" y="1604"/>
                  </a:cubicBezTo>
                  <a:cubicBezTo>
                    <a:pt x="639" y="1619"/>
                    <a:pt x="647" y="1648"/>
                    <a:pt x="647" y="1663"/>
                  </a:cubicBezTo>
                  <a:cubicBezTo>
                    <a:pt x="647" y="1693"/>
                    <a:pt x="639" y="1700"/>
                    <a:pt x="632" y="1723"/>
                  </a:cubicBezTo>
                  <a:cubicBezTo>
                    <a:pt x="610" y="1760"/>
                    <a:pt x="617" y="1753"/>
                    <a:pt x="595" y="1753"/>
                  </a:cubicBezTo>
                  <a:cubicBezTo>
                    <a:pt x="565" y="1745"/>
                    <a:pt x="498" y="1730"/>
                    <a:pt x="476" y="1753"/>
                  </a:cubicBezTo>
                  <a:cubicBezTo>
                    <a:pt x="468" y="1760"/>
                    <a:pt x="468" y="1790"/>
                    <a:pt x="468" y="1804"/>
                  </a:cubicBezTo>
                  <a:cubicBezTo>
                    <a:pt x="461" y="1827"/>
                    <a:pt x="439" y="1886"/>
                    <a:pt x="461" y="1893"/>
                  </a:cubicBezTo>
                  <a:cubicBezTo>
                    <a:pt x="461" y="1931"/>
                    <a:pt x="461" y="1968"/>
                    <a:pt x="468" y="2005"/>
                  </a:cubicBezTo>
                  <a:cubicBezTo>
                    <a:pt x="476" y="2005"/>
                    <a:pt x="476" y="2012"/>
                    <a:pt x="483" y="2012"/>
                  </a:cubicBezTo>
                  <a:cubicBezTo>
                    <a:pt x="483" y="2079"/>
                    <a:pt x="483" y="2139"/>
                    <a:pt x="498" y="2205"/>
                  </a:cubicBezTo>
                  <a:cubicBezTo>
                    <a:pt x="513" y="2235"/>
                    <a:pt x="520" y="2265"/>
                    <a:pt x="520" y="2295"/>
                  </a:cubicBezTo>
                  <a:cubicBezTo>
                    <a:pt x="513" y="2309"/>
                    <a:pt x="505" y="2317"/>
                    <a:pt x="505" y="2332"/>
                  </a:cubicBezTo>
                  <a:cubicBezTo>
                    <a:pt x="505" y="2339"/>
                    <a:pt x="520" y="2339"/>
                    <a:pt x="520" y="2354"/>
                  </a:cubicBezTo>
                  <a:cubicBezTo>
                    <a:pt x="520" y="2361"/>
                    <a:pt x="520" y="2369"/>
                    <a:pt x="520" y="2376"/>
                  </a:cubicBezTo>
                  <a:cubicBezTo>
                    <a:pt x="520" y="2413"/>
                    <a:pt x="498" y="2443"/>
                    <a:pt x="498" y="2473"/>
                  </a:cubicBezTo>
                  <a:cubicBezTo>
                    <a:pt x="498" y="2480"/>
                    <a:pt x="505" y="2503"/>
                    <a:pt x="513" y="2510"/>
                  </a:cubicBezTo>
                  <a:cubicBezTo>
                    <a:pt x="513" y="2532"/>
                    <a:pt x="520" y="2555"/>
                    <a:pt x="520" y="2577"/>
                  </a:cubicBezTo>
                  <a:cubicBezTo>
                    <a:pt x="520" y="2592"/>
                    <a:pt x="520" y="2614"/>
                    <a:pt x="513" y="2629"/>
                  </a:cubicBezTo>
                  <a:cubicBezTo>
                    <a:pt x="513" y="2644"/>
                    <a:pt x="491" y="2658"/>
                    <a:pt x="491" y="2666"/>
                  </a:cubicBezTo>
                  <a:cubicBezTo>
                    <a:pt x="483" y="2688"/>
                    <a:pt x="498" y="2688"/>
                    <a:pt x="505" y="2703"/>
                  </a:cubicBezTo>
                  <a:cubicBezTo>
                    <a:pt x="505" y="2718"/>
                    <a:pt x="505" y="2740"/>
                    <a:pt x="505" y="2755"/>
                  </a:cubicBezTo>
                  <a:lnTo>
                    <a:pt x="513" y="2755"/>
                  </a:lnTo>
                  <a:cubicBezTo>
                    <a:pt x="513" y="2785"/>
                    <a:pt x="505" y="2807"/>
                    <a:pt x="505" y="2829"/>
                  </a:cubicBezTo>
                  <a:cubicBezTo>
                    <a:pt x="550" y="2829"/>
                    <a:pt x="595" y="2844"/>
                    <a:pt x="587" y="2896"/>
                  </a:cubicBezTo>
                  <a:cubicBezTo>
                    <a:pt x="632" y="2903"/>
                    <a:pt x="765" y="2903"/>
                    <a:pt x="780" y="2963"/>
                  </a:cubicBezTo>
                  <a:cubicBezTo>
                    <a:pt x="803" y="2970"/>
                    <a:pt x="803" y="3000"/>
                    <a:pt x="825" y="3007"/>
                  </a:cubicBezTo>
                  <a:cubicBezTo>
                    <a:pt x="840" y="3022"/>
                    <a:pt x="862" y="3007"/>
                    <a:pt x="877" y="3015"/>
                  </a:cubicBezTo>
                  <a:cubicBezTo>
                    <a:pt x="914" y="3037"/>
                    <a:pt x="884" y="3126"/>
                    <a:pt x="958" y="3111"/>
                  </a:cubicBezTo>
                  <a:cubicBezTo>
                    <a:pt x="958" y="3104"/>
                    <a:pt x="966" y="3097"/>
                    <a:pt x="966" y="3089"/>
                  </a:cubicBezTo>
                  <a:cubicBezTo>
                    <a:pt x="1018" y="3089"/>
                    <a:pt x="1048" y="3119"/>
                    <a:pt x="1100" y="3119"/>
                  </a:cubicBezTo>
                  <a:cubicBezTo>
                    <a:pt x="1100" y="3104"/>
                    <a:pt x="1100" y="3089"/>
                    <a:pt x="1100" y="3074"/>
                  </a:cubicBezTo>
                  <a:cubicBezTo>
                    <a:pt x="1115" y="3067"/>
                    <a:pt x="1129" y="3060"/>
                    <a:pt x="1152" y="3060"/>
                  </a:cubicBezTo>
                  <a:cubicBezTo>
                    <a:pt x="1152" y="3097"/>
                    <a:pt x="1122" y="3126"/>
                    <a:pt x="1129" y="3163"/>
                  </a:cubicBezTo>
                  <a:cubicBezTo>
                    <a:pt x="1137" y="3163"/>
                    <a:pt x="1137" y="3163"/>
                    <a:pt x="1137" y="3163"/>
                  </a:cubicBezTo>
                  <a:cubicBezTo>
                    <a:pt x="1137" y="3186"/>
                    <a:pt x="1144" y="3200"/>
                    <a:pt x="1129" y="3230"/>
                  </a:cubicBezTo>
                  <a:cubicBezTo>
                    <a:pt x="1129" y="3238"/>
                    <a:pt x="1085" y="3260"/>
                    <a:pt x="1122" y="3275"/>
                  </a:cubicBezTo>
                  <a:cubicBezTo>
                    <a:pt x="1122" y="3290"/>
                    <a:pt x="1122" y="3312"/>
                    <a:pt x="1129" y="3319"/>
                  </a:cubicBezTo>
                  <a:cubicBezTo>
                    <a:pt x="1152" y="3290"/>
                    <a:pt x="1226" y="3297"/>
                    <a:pt x="1263" y="3305"/>
                  </a:cubicBezTo>
                  <a:cubicBezTo>
                    <a:pt x="1263" y="3319"/>
                    <a:pt x="1270" y="3334"/>
                    <a:pt x="1278" y="3349"/>
                  </a:cubicBezTo>
                  <a:cubicBezTo>
                    <a:pt x="1285" y="3349"/>
                    <a:pt x="1293" y="3349"/>
                    <a:pt x="1293" y="3349"/>
                  </a:cubicBezTo>
                  <a:lnTo>
                    <a:pt x="1293" y="3357"/>
                  </a:lnTo>
                  <a:cubicBezTo>
                    <a:pt x="1307" y="3357"/>
                    <a:pt x="1322" y="3357"/>
                    <a:pt x="1330" y="3357"/>
                  </a:cubicBezTo>
                  <a:cubicBezTo>
                    <a:pt x="1330" y="3342"/>
                    <a:pt x="1337" y="3334"/>
                    <a:pt x="1352" y="3334"/>
                  </a:cubicBezTo>
                  <a:cubicBezTo>
                    <a:pt x="1352" y="3334"/>
                    <a:pt x="1352" y="3334"/>
                    <a:pt x="1352" y="3327"/>
                  </a:cubicBezTo>
                  <a:cubicBezTo>
                    <a:pt x="1367" y="3327"/>
                    <a:pt x="1382" y="3327"/>
                    <a:pt x="1389" y="3327"/>
                  </a:cubicBezTo>
                  <a:cubicBezTo>
                    <a:pt x="1397" y="3357"/>
                    <a:pt x="1419" y="3364"/>
                    <a:pt x="1412" y="3386"/>
                  </a:cubicBezTo>
                  <a:cubicBezTo>
                    <a:pt x="1434" y="3386"/>
                    <a:pt x="1456" y="3386"/>
                    <a:pt x="1471" y="3386"/>
                  </a:cubicBezTo>
                  <a:cubicBezTo>
                    <a:pt x="1493" y="3394"/>
                    <a:pt x="1538" y="3438"/>
                    <a:pt x="1545" y="3460"/>
                  </a:cubicBezTo>
                  <a:cubicBezTo>
                    <a:pt x="1545" y="3468"/>
                    <a:pt x="1545" y="3483"/>
                    <a:pt x="1538" y="3497"/>
                  </a:cubicBezTo>
                  <a:lnTo>
                    <a:pt x="1545" y="3497"/>
                  </a:lnTo>
                  <a:cubicBezTo>
                    <a:pt x="1575" y="3512"/>
                    <a:pt x="1590" y="3520"/>
                    <a:pt x="1619" y="3520"/>
                  </a:cubicBezTo>
                </a:path>
              </a:pathLst>
            </a:custGeom>
            <a:grpFill/>
            <a:ln w="6350" cap="flat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lIns="60927" tIns="30463" rIns="60927" bIns="30463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42" name="Freeform 34"/>
            <p:cNvSpPr>
              <a:spLocks noChangeArrowheads="1"/>
            </p:cNvSpPr>
            <p:nvPr/>
          </p:nvSpPr>
          <p:spPr bwMode="auto">
            <a:xfrm>
              <a:off x="15061663" y="6998675"/>
              <a:ext cx="3813" cy="1904"/>
            </a:xfrm>
            <a:custGeom>
              <a:avLst/>
              <a:gdLst>
                <a:gd name="T0" fmla="*/ 0 w 8"/>
                <a:gd name="T1" fmla="*/ 0 h 1"/>
                <a:gd name="T2" fmla="*/ 0 w 8"/>
                <a:gd name="T3" fmla="*/ 0 h 1"/>
                <a:gd name="T4" fmla="*/ 7 w 8"/>
                <a:gd name="T5" fmla="*/ 0 h 1"/>
                <a:gd name="T6" fmla="*/ 7 w 8"/>
                <a:gd name="T7" fmla="*/ 0 h 1"/>
                <a:gd name="T8" fmla="*/ 0 w 8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0" y="0"/>
                  </a:moveTo>
                  <a:lnTo>
                    <a:pt x="0" y="0"/>
                  </a:lnTo>
                  <a:cubicBezTo>
                    <a:pt x="0" y="0"/>
                    <a:pt x="0" y="0"/>
                    <a:pt x="7" y="0"/>
                  </a:cubicBez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grpFill/>
            <a:ln w="6350" cap="flat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lIns="60927" tIns="30463" rIns="60927" bIns="30463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43" name="Freeform 35"/>
            <p:cNvSpPr>
              <a:spLocks noChangeArrowheads="1"/>
            </p:cNvSpPr>
            <p:nvPr/>
          </p:nvSpPr>
          <p:spPr bwMode="auto">
            <a:xfrm>
              <a:off x="14316272" y="5804178"/>
              <a:ext cx="1791984" cy="1276416"/>
            </a:xfrm>
            <a:custGeom>
              <a:avLst/>
              <a:gdLst>
                <a:gd name="T0" fmla="*/ 1819 w 4145"/>
                <a:gd name="T1" fmla="*/ 2852 h 2956"/>
                <a:gd name="T2" fmla="*/ 1961 w 4145"/>
                <a:gd name="T3" fmla="*/ 2926 h 2956"/>
                <a:gd name="T4" fmla="*/ 2064 w 4145"/>
                <a:gd name="T5" fmla="*/ 2785 h 2956"/>
                <a:gd name="T6" fmla="*/ 2287 w 4145"/>
                <a:gd name="T7" fmla="*/ 2740 h 2956"/>
                <a:gd name="T8" fmla="*/ 2310 w 4145"/>
                <a:gd name="T9" fmla="*/ 2658 h 2956"/>
                <a:gd name="T10" fmla="*/ 2421 w 4145"/>
                <a:gd name="T11" fmla="*/ 2347 h 2956"/>
                <a:gd name="T12" fmla="*/ 2480 w 4145"/>
                <a:gd name="T13" fmla="*/ 2146 h 2956"/>
                <a:gd name="T14" fmla="*/ 2495 w 4145"/>
                <a:gd name="T15" fmla="*/ 2072 h 2956"/>
                <a:gd name="T16" fmla="*/ 2480 w 4145"/>
                <a:gd name="T17" fmla="*/ 1901 h 2956"/>
                <a:gd name="T18" fmla="*/ 2584 w 4145"/>
                <a:gd name="T19" fmla="*/ 1738 h 2956"/>
                <a:gd name="T20" fmla="*/ 2748 w 4145"/>
                <a:gd name="T21" fmla="*/ 1641 h 2956"/>
                <a:gd name="T22" fmla="*/ 2874 w 4145"/>
                <a:gd name="T23" fmla="*/ 1426 h 2956"/>
                <a:gd name="T24" fmla="*/ 3074 w 4145"/>
                <a:gd name="T25" fmla="*/ 1144 h 2956"/>
                <a:gd name="T26" fmla="*/ 3156 w 4145"/>
                <a:gd name="T27" fmla="*/ 1151 h 2956"/>
                <a:gd name="T28" fmla="*/ 3438 w 4145"/>
                <a:gd name="T29" fmla="*/ 884 h 2956"/>
                <a:gd name="T30" fmla="*/ 3572 w 4145"/>
                <a:gd name="T31" fmla="*/ 787 h 2956"/>
                <a:gd name="T32" fmla="*/ 3720 w 4145"/>
                <a:gd name="T33" fmla="*/ 706 h 2956"/>
                <a:gd name="T34" fmla="*/ 3802 w 4145"/>
                <a:gd name="T35" fmla="*/ 579 h 2956"/>
                <a:gd name="T36" fmla="*/ 4040 w 4145"/>
                <a:gd name="T37" fmla="*/ 527 h 2956"/>
                <a:gd name="T38" fmla="*/ 4055 w 4145"/>
                <a:gd name="T39" fmla="*/ 423 h 2956"/>
                <a:gd name="T40" fmla="*/ 3988 w 4145"/>
                <a:gd name="T41" fmla="*/ 119 h 2956"/>
                <a:gd name="T42" fmla="*/ 3965 w 4145"/>
                <a:gd name="T43" fmla="*/ 22 h 2956"/>
                <a:gd name="T44" fmla="*/ 3765 w 4145"/>
                <a:gd name="T45" fmla="*/ 97 h 2956"/>
                <a:gd name="T46" fmla="*/ 3617 w 4145"/>
                <a:gd name="T47" fmla="*/ 134 h 2956"/>
                <a:gd name="T48" fmla="*/ 3520 w 4145"/>
                <a:gd name="T49" fmla="*/ 193 h 2956"/>
                <a:gd name="T50" fmla="*/ 3394 w 4145"/>
                <a:gd name="T51" fmla="*/ 238 h 2956"/>
                <a:gd name="T52" fmla="*/ 3342 w 4145"/>
                <a:gd name="T53" fmla="*/ 267 h 2956"/>
                <a:gd name="T54" fmla="*/ 3149 w 4145"/>
                <a:gd name="T55" fmla="*/ 364 h 2956"/>
                <a:gd name="T56" fmla="*/ 2948 w 4145"/>
                <a:gd name="T57" fmla="*/ 357 h 2956"/>
                <a:gd name="T58" fmla="*/ 2963 w 4145"/>
                <a:gd name="T59" fmla="*/ 483 h 2956"/>
                <a:gd name="T60" fmla="*/ 2844 w 4145"/>
                <a:gd name="T61" fmla="*/ 602 h 2956"/>
                <a:gd name="T62" fmla="*/ 2748 w 4145"/>
                <a:gd name="T63" fmla="*/ 780 h 2956"/>
                <a:gd name="T64" fmla="*/ 2569 w 4145"/>
                <a:gd name="T65" fmla="*/ 869 h 2956"/>
                <a:gd name="T66" fmla="*/ 2354 w 4145"/>
                <a:gd name="T67" fmla="*/ 914 h 2956"/>
                <a:gd name="T68" fmla="*/ 2020 w 4145"/>
                <a:gd name="T69" fmla="*/ 869 h 2956"/>
                <a:gd name="T70" fmla="*/ 1842 w 4145"/>
                <a:gd name="T71" fmla="*/ 951 h 2956"/>
                <a:gd name="T72" fmla="*/ 1648 w 4145"/>
                <a:gd name="T73" fmla="*/ 995 h 2956"/>
                <a:gd name="T74" fmla="*/ 1515 w 4145"/>
                <a:gd name="T75" fmla="*/ 995 h 2956"/>
                <a:gd name="T76" fmla="*/ 1337 w 4145"/>
                <a:gd name="T77" fmla="*/ 1040 h 2956"/>
                <a:gd name="T78" fmla="*/ 1188 w 4145"/>
                <a:gd name="T79" fmla="*/ 1025 h 2956"/>
                <a:gd name="T80" fmla="*/ 906 w 4145"/>
                <a:gd name="T81" fmla="*/ 1084 h 2956"/>
                <a:gd name="T82" fmla="*/ 549 w 4145"/>
                <a:gd name="T83" fmla="*/ 980 h 2956"/>
                <a:gd name="T84" fmla="*/ 223 w 4145"/>
                <a:gd name="T85" fmla="*/ 1099 h 2956"/>
                <a:gd name="T86" fmla="*/ 156 w 4145"/>
                <a:gd name="T87" fmla="*/ 1359 h 2956"/>
                <a:gd name="T88" fmla="*/ 0 w 4145"/>
                <a:gd name="T89" fmla="*/ 1545 h 2956"/>
                <a:gd name="T90" fmla="*/ 126 w 4145"/>
                <a:gd name="T91" fmla="*/ 1775 h 2956"/>
                <a:gd name="T92" fmla="*/ 193 w 4145"/>
                <a:gd name="T93" fmla="*/ 1886 h 2956"/>
                <a:gd name="T94" fmla="*/ 267 w 4145"/>
                <a:gd name="T95" fmla="*/ 1760 h 2956"/>
                <a:gd name="T96" fmla="*/ 631 w 4145"/>
                <a:gd name="T97" fmla="*/ 1730 h 2956"/>
                <a:gd name="T98" fmla="*/ 951 w 4145"/>
                <a:gd name="T99" fmla="*/ 1767 h 2956"/>
                <a:gd name="T100" fmla="*/ 1069 w 4145"/>
                <a:gd name="T101" fmla="*/ 1856 h 2956"/>
                <a:gd name="T102" fmla="*/ 1262 w 4145"/>
                <a:gd name="T103" fmla="*/ 1782 h 2956"/>
                <a:gd name="T104" fmla="*/ 1418 w 4145"/>
                <a:gd name="T105" fmla="*/ 1745 h 2956"/>
                <a:gd name="T106" fmla="*/ 1686 w 4145"/>
                <a:gd name="T107" fmla="*/ 1619 h 2956"/>
                <a:gd name="T108" fmla="*/ 1730 w 4145"/>
                <a:gd name="T109" fmla="*/ 1767 h 2956"/>
                <a:gd name="T110" fmla="*/ 1968 w 4145"/>
                <a:gd name="T111" fmla="*/ 1886 h 2956"/>
                <a:gd name="T112" fmla="*/ 2131 w 4145"/>
                <a:gd name="T113" fmla="*/ 2168 h 2956"/>
                <a:gd name="T114" fmla="*/ 1931 w 4145"/>
                <a:gd name="T115" fmla="*/ 2369 h 2956"/>
                <a:gd name="T116" fmla="*/ 1856 w 4145"/>
                <a:gd name="T117" fmla="*/ 2495 h 2956"/>
                <a:gd name="T118" fmla="*/ 1753 w 4145"/>
                <a:gd name="T119" fmla="*/ 2725 h 2956"/>
                <a:gd name="T120" fmla="*/ 1753 w 4145"/>
                <a:gd name="T121" fmla="*/ 2881 h 29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145" h="2956">
                  <a:moveTo>
                    <a:pt x="1753" y="2881"/>
                  </a:moveTo>
                  <a:lnTo>
                    <a:pt x="1753" y="2881"/>
                  </a:lnTo>
                  <a:cubicBezTo>
                    <a:pt x="1753" y="2881"/>
                    <a:pt x="1782" y="2881"/>
                    <a:pt x="1812" y="2874"/>
                  </a:cubicBezTo>
                  <a:cubicBezTo>
                    <a:pt x="1812" y="2866"/>
                    <a:pt x="1812" y="2859"/>
                    <a:pt x="1819" y="2852"/>
                  </a:cubicBezTo>
                  <a:cubicBezTo>
                    <a:pt x="1812" y="2859"/>
                    <a:pt x="1812" y="2866"/>
                    <a:pt x="1812" y="2874"/>
                  </a:cubicBezTo>
                  <a:cubicBezTo>
                    <a:pt x="1849" y="2874"/>
                    <a:pt x="1886" y="2866"/>
                    <a:pt x="1894" y="2866"/>
                  </a:cubicBezTo>
                  <a:cubicBezTo>
                    <a:pt x="1894" y="2896"/>
                    <a:pt x="1894" y="2918"/>
                    <a:pt x="1894" y="2948"/>
                  </a:cubicBezTo>
                  <a:cubicBezTo>
                    <a:pt x="1916" y="2955"/>
                    <a:pt x="1946" y="2941"/>
                    <a:pt x="1961" y="2926"/>
                  </a:cubicBezTo>
                  <a:cubicBezTo>
                    <a:pt x="1983" y="2904"/>
                    <a:pt x="1983" y="2889"/>
                    <a:pt x="1983" y="2859"/>
                  </a:cubicBezTo>
                  <a:cubicBezTo>
                    <a:pt x="1998" y="2859"/>
                    <a:pt x="2013" y="2859"/>
                    <a:pt x="2020" y="2859"/>
                  </a:cubicBezTo>
                  <a:cubicBezTo>
                    <a:pt x="2020" y="2844"/>
                    <a:pt x="2020" y="2822"/>
                    <a:pt x="2027" y="2814"/>
                  </a:cubicBezTo>
                  <a:cubicBezTo>
                    <a:pt x="2035" y="2792"/>
                    <a:pt x="2050" y="2792"/>
                    <a:pt x="2064" y="2785"/>
                  </a:cubicBezTo>
                  <a:cubicBezTo>
                    <a:pt x="2087" y="2763"/>
                    <a:pt x="2087" y="2710"/>
                    <a:pt x="2087" y="2681"/>
                  </a:cubicBezTo>
                  <a:cubicBezTo>
                    <a:pt x="2102" y="2710"/>
                    <a:pt x="2146" y="2733"/>
                    <a:pt x="2153" y="2763"/>
                  </a:cubicBezTo>
                  <a:cubicBezTo>
                    <a:pt x="2183" y="2770"/>
                    <a:pt x="2198" y="2740"/>
                    <a:pt x="2220" y="2733"/>
                  </a:cubicBezTo>
                  <a:cubicBezTo>
                    <a:pt x="2243" y="2733"/>
                    <a:pt x="2265" y="2748"/>
                    <a:pt x="2287" y="2740"/>
                  </a:cubicBezTo>
                  <a:cubicBezTo>
                    <a:pt x="2272" y="2710"/>
                    <a:pt x="2258" y="2688"/>
                    <a:pt x="2250" y="2666"/>
                  </a:cubicBezTo>
                  <a:cubicBezTo>
                    <a:pt x="2258" y="2688"/>
                    <a:pt x="2272" y="2710"/>
                    <a:pt x="2287" y="2740"/>
                  </a:cubicBezTo>
                  <a:cubicBezTo>
                    <a:pt x="2287" y="2740"/>
                    <a:pt x="2287" y="2740"/>
                    <a:pt x="2295" y="2733"/>
                  </a:cubicBezTo>
                  <a:cubicBezTo>
                    <a:pt x="2295" y="2703"/>
                    <a:pt x="2295" y="2688"/>
                    <a:pt x="2310" y="2658"/>
                  </a:cubicBezTo>
                  <a:cubicBezTo>
                    <a:pt x="2324" y="2636"/>
                    <a:pt x="2324" y="2614"/>
                    <a:pt x="2324" y="2584"/>
                  </a:cubicBezTo>
                  <a:cubicBezTo>
                    <a:pt x="2332" y="2532"/>
                    <a:pt x="2332" y="2480"/>
                    <a:pt x="2339" y="2428"/>
                  </a:cubicBezTo>
                  <a:cubicBezTo>
                    <a:pt x="2361" y="2428"/>
                    <a:pt x="2384" y="2428"/>
                    <a:pt x="2406" y="2428"/>
                  </a:cubicBezTo>
                  <a:cubicBezTo>
                    <a:pt x="2421" y="2406"/>
                    <a:pt x="2413" y="2376"/>
                    <a:pt x="2421" y="2347"/>
                  </a:cubicBezTo>
                  <a:cubicBezTo>
                    <a:pt x="2428" y="2317"/>
                    <a:pt x="2443" y="2295"/>
                    <a:pt x="2421" y="2265"/>
                  </a:cubicBezTo>
                  <a:cubicBezTo>
                    <a:pt x="2436" y="2258"/>
                    <a:pt x="2443" y="2258"/>
                    <a:pt x="2458" y="2258"/>
                  </a:cubicBezTo>
                  <a:cubicBezTo>
                    <a:pt x="2465" y="2243"/>
                    <a:pt x="2473" y="2228"/>
                    <a:pt x="2473" y="2206"/>
                  </a:cubicBezTo>
                  <a:cubicBezTo>
                    <a:pt x="2480" y="2191"/>
                    <a:pt x="2473" y="2161"/>
                    <a:pt x="2480" y="2146"/>
                  </a:cubicBezTo>
                  <a:cubicBezTo>
                    <a:pt x="2488" y="2139"/>
                    <a:pt x="2510" y="2116"/>
                    <a:pt x="2518" y="2109"/>
                  </a:cubicBezTo>
                  <a:cubicBezTo>
                    <a:pt x="2532" y="2094"/>
                    <a:pt x="2540" y="2079"/>
                    <a:pt x="2569" y="2079"/>
                  </a:cubicBezTo>
                  <a:cubicBezTo>
                    <a:pt x="2562" y="2079"/>
                    <a:pt x="2562" y="2072"/>
                    <a:pt x="2562" y="2072"/>
                  </a:cubicBezTo>
                  <a:cubicBezTo>
                    <a:pt x="2532" y="2072"/>
                    <a:pt x="2503" y="2072"/>
                    <a:pt x="2495" y="2072"/>
                  </a:cubicBezTo>
                  <a:cubicBezTo>
                    <a:pt x="2503" y="2072"/>
                    <a:pt x="2532" y="2072"/>
                    <a:pt x="2562" y="2072"/>
                  </a:cubicBezTo>
                  <a:cubicBezTo>
                    <a:pt x="2555" y="2050"/>
                    <a:pt x="2555" y="2020"/>
                    <a:pt x="2555" y="1990"/>
                  </a:cubicBezTo>
                  <a:cubicBezTo>
                    <a:pt x="2562" y="1923"/>
                    <a:pt x="2540" y="1961"/>
                    <a:pt x="2503" y="1938"/>
                  </a:cubicBezTo>
                  <a:cubicBezTo>
                    <a:pt x="2495" y="1931"/>
                    <a:pt x="2480" y="1908"/>
                    <a:pt x="2480" y="1901"/>
                  </a:cubicBezTo>
                  <a:cubicBezTo>
                    <a:pt x="2473" y="1886"/>
                    <a:pt x="2458" y="1901"/>
                    <a:pt x="2473" y="1879"/>
                  </a:cubicBezTo>
                  <a:cubicBezTo>
                    <a:pt x="2480" y="1856"/>
                    <a:pt x="2525" y="1842"/>
                    <a:pt x="2547" y="1834"/>
                  </a:cubicBezTo>
                  <a:cubicBezTo>
                    <a:pt x="2547" y="1805"/>
                    <a:pt x="2569" y="1812"/>
                    <a:pt x="2577" y="1797"/>
                  </a:cubicBezTo>
                  <a:cubicBezTo>
                    <a:pt x="2584" y="1775"/>
                    <a:pt x="2569" y="1760"/>
                    <a:pt x="2584" y="1738"/>
                  </a:cubicBezTo>
                  <a:cubicBezTo>
                    <a:pt x="2614" y="1701"/>
                    <a:pt x="2673" y="1701"/>
                    <a:pt x="2688" y="1663"/>
                  </a:cubicBezTo>
                  <a:cubicBezTo>
                    <a:pt x="2666" y="1649"/>
                    <a:pt x="2666" y="1634"/>
                    <a:pt x="2666" y="1611"/>
                  </a:cubicBezTo>
                  <a:cubicBezTo>
                    <a:pt x="2696" y="1604"/>
                    <a:pt x="2718" y="1604"/>
                    <a:pt x="2748" y="1589"/>
                  </a:cubicBezTo>
                  <a:cubicBezTo>
                    <a:pt x="2725" y="1597"/>
                    <a:pt x="2740" y="1626"/>
                    <a:pt x="2748" y="1641"/>
                  </a:cubicBezTo>
                  <a:cubicBezTo>
                    <a:pt x="2763" y="1671"/>
                    <a:pt x="2777" y="1671"/>
                    <a:pt x="2800" y="1671"/>
                  </a:cubicBezTo>
                  <a:cubicBezTo>
                    <a:pt x="2859" y="1663"/>
                    <a:pt x="2881" y="1611"/>
                    <a:pt x="2866" y="1559"/>
                  </a:cubicBezTo>
                  <a:cubicBezTo>
                    <a:pt x="2852" y="1522"/>
                    <a:pt x="2859" y="1522"/>
                    <a:pt x="2881" y="1500"/>
                  </a:cubicBezTo>
                  <a:cubicBezTo>
                    <a:pt x="2918" y="1456"/>
                    <a:pt x="2889" y="1463"/>
                    <a:pt x="2874" y="1426"/>
                  </a:cubicBezTo>
                  <a:cubicBezTo>
                    <a:pt x="2874" y="1433"/>
                    <a:pt x="2941" y="1322"/>
                    <a:pt x="2941" y="1314"/>
                  </a:cubicBezTo>
                  <a:cubicBezTo>
                    <a:pt x="2955" y="1300"/>
                    <a:pt x="2978" y="1300"/>
                    <a:pt x="2993" y="1277"/>
                  </a:cubicBezTo>
                  <a:cubicBezTo>
                    <a:pt x="3015" y="1240"/>
                    <a:pt x="3000" y="1188"/>
                    <a:pt x="3030" y="1151"/>
                  </a:cubicBezTo>
                  <a:cubicBezTo>
                    <a:pt x="3037" y="1144"/>
                    <a:pt x="3060" y="1144"/>
                    <a:pt x="3074" y="1144"/>
                  </a:cubicBezTo>
                  <a:cubicBezTo>
                    <a:pt x="3074" y="1159"/>
                    <a:pt x="3067" y="1181"/>
                    <a:pt x="3074" y="1196"/>
                  </a:cubicBezTo>
                  <a:cubicBezTo>
                    <a:pt x="3074" y="1211"/>
                    <a:pt x="3082" y="1211"/>
                    <a:pt x="3097" y="1211"/>
                  </a:cubicBezTo>
                  <a:cubicBezTo>
                    <a:pt x="3104" y="1203"/>
                    <a:pt x="3104" y="1203"/>
                    <a:pt x="3112" y="1196"/>
                  </a:cubicBezTo>
                  <a:cubicBezTo>
                    <a:pt x="3126" y="1181"/>
                    <a:pt x="3149" y="1166"/>
                    <a:pt x="3156" y="1151"/>
                  </a:cubicBezTo>
                  <a:cubicBezTo>
                    <a:pt x="3156" y="1129"/>
                    <a:pt x="3156" y="1114"/>
                    <a:pt x="3163" y="1092"/>
                  </a:cubicBezTo>
                  <a:cubicBezTo>
                    <a:pt x="3193" y="1017"/>
                    <a:pt x="3282" y="1003"/>
                    <a:pt x="3349" y="965"/>
                  </a:cubicBezTo>
                  <a:cubicBezTo>
                    <a:pt x="3364" y="958"/>
                    <a:pt x="3386" y="943"/>
                    <a:pt x="3394" y="928"/>
                  </a:cubicBezTo>
                  <a:cubicBezTo>
                    <a:pt x="3401" y="914"/>
                    <a:pt x="3416" y="884"/>
                    <a:pt x="3438" y="884"/>
                  </a:cubicBezTo>
                  <a:cubicBezTo>
                    <a:pt x="3438" y="861"/>
                    <a:pt x="3438" y="847"/>
                    <a:pt x="3446" y="832"/>
                  </a:cubicBezTo>
                  <a:cubicBezTo>
                    <a:pt x="3460" y="824"/>
                    <a:pt x="3490" y="824"/>
                    <a:pt x="3505" y="817"/>
                  </a:cubicBezTo>
                  <a:cubicBezTo>
                    <a:pt x="3520" y="817"/>
                    <a:pt x="3535" y="817"/>
                    <a:pt x="3542" y="817"/>
                  </a:cubicBezTo>
                  <a:cubicBezTo>
                    <a:pt x="3557" y="809"/>
                    <a:pt x="3565" y="795"/>
                    <a:pt x="3572" y="787"/>
                  </a:cubicBezTo>
                  <a:cubicBezTo>
                    <a:pt x="3587" y="772"/>
                    <a:pt x="3602" y="765"/>
                    <a:pt x="3617" y="750"/>
                  </a:cubicBezTo>
                  <a:cubicBezTo>
                    <a:pt x="3624" y="743"/>
                    <a:pt x="3624" y="735"/>
                    <a:pt x="3639" y="728"/>
                  </a:cubicBezTo>
                  <a:cubicBezTo>
                    <a:pt x="3654" y="720"/>
                    <a:pt x="3676" y="728"/>
                    <a:pt x="3691" y="728"/>
                  </a:cubicBezTo>
                  <a:cubicBezTo>
                    <a:pt x="3691" y="720"/>
                    <a:pt x="3706" y="713"/>
                    <a:pt x="3720" y="706"/>
                  </a:cubicBezTo>
                  <a:cubicBezTo>
                    <a:pt x="3713" y="706"/>
                    <a:pt x="3706" y="706"/>
                    <a:pt x="3706" y="698"/>
                  </a:cubicBezTo>
                  <a:cubicBezTo>
                    <a:pt x="3720" y="698"/>
                    <a:pt x="3743" y="668"/>
                    <a:pt x="3750" y="661"/>
                  </a:cubicBezTo>
                  <a:cubicBezTo>
                    <a:pt x="3765" y="654"/>
                    <a:pt x="3795" y="646"/>
                    <a:pt x="3802" y="631"/>
                  </a:cubicBezTo>
                  <a:cubicBezTo>
                    <a:pt x="3802" y="624"/>
                    <a:pt x="3802" y="594"/>
                    <a:pt x="3802" y="579"/>
                  </a:cubicBezTo>
                  <a:cubicBezTo>
                    <a:pt x="3810" y="549"/>
                    <a:pt x="3824" y="549"/>
                    <a:pt x="3854" y="542"/>
                  </a:cubicBezTo>
                  <a:cubicBezTo>
                    <a:pt x="3862" y="564"/>
                    <a:pt x="3928" y="564"/>
                    <a:pt x="3951" y="557"/>
                  </a:cubicBezTo>
                  <a:cubicBezTo>
                    <a:pt x="3958" y="557"/>
                    <a:pt x="3973" y="549"/>
                    <a:pt x="3988" y="542"/>
                  </a:cubicBezTo>
                  <a:cubicBezTo>
                    <a:pt x="4003" y="535"/>
                    <a:pt x="4032" y="535"/>
                    <a:pt x="4040" y="527"/>
                  </a:cubicBezTo>
                  <a:cubicBezTo>
                    <a:pt x="4084" y="527"/>
                    <a:pt x="4129" y="498"/>
                    <a:pt x="4136" y="453"/>
                  </a:cubicBezTo>
                  <a:cubicBezTo>
                    <a:pt x="4136" y="438"/>
                    <a:pt x="4144" y="386"/>
                    <a:pt x="4122" y="394"/>
                  </a:cubicBezTo>
                  <a:cubicBezTo>
                    <a:pt x="4107" y="394"/>
                    <a:pt x="4107" y="409"/>
                    <a:pt x="4099" y="416"/>
                  </a:cubicBezTo>
                  <a:cubicBezTo>
                    <a:pt x="4084" y="423"/>
                    <a:pt x="4069" y="423"/>
                    <a:pt x="4055" y="423"/>
                  </a:cubicBezTo>
                  <a:cubicBezTo>
                    <a:pt x="4055" y="401"/>
                    <a:pt x="4047" y="386"/>
                    <a:pt x="4040" y="371"/>
                  </a:cubicBezTo>
                  <a:cubicBezTo>
                    <a:pt x="4032" y="349"/>
                    <a:pt x="4032" y="334"/>
                    <a:pt x="4032" y="312"/>
                  </a:cubicBezTo>
                  <a:cubicBezTo>
                    <a:pt x="3980" y="290"/>
                    <a:pt x="3980" y="245"/>
                    <a:pt x="3980" y="193"/>
                  </a:cubicBezTo>
                  <a:cubicBezTo>
                    <a:pt x="3980" y="171"/>
                    <a:pt x="3980" y="134"/>
                    <a:pt x="3988" y="119"/>
                  </a:cubicBezTo>
                  <a:cubicBezTo>
                    <a:pt x="3995" y="112"/>
                    <a:pt x="4010" y="112"/>
                    <a:pt x="4017" y="104"/>
                  </a:cubicBezTo>
                  <a:cubicBezTo>
                    <a:pt x="4032" y="97"/>
                    <a:pt x="4040" y="89"/>
                    <a:pt x="4047" y="74"/>
                  </a:cubicBezTo>
                  <a:cubicBezTo>
                    <a:pt x="4055" y="59"/>
                    <a:pt x="4077" y="44"/>
                    <a:pt x="4069" y="30"/>
                  </a:cubicBezTo>
                  <a:cubicBezTo>
                    <a:pt x="4055" y="0"/>
                    <a:pt x="3988" y="15"/>
                    <a:pt x="3965" y="22"/>
                  </a:cubicBezTo>
                  <a:cubicBezTo>
                    <a:pt x="3943" y="22"/>
                    <a:pt x="3928" y="30"/>
                    <a:pt x="3906" y="30"/>
                  </a:cubicBezTo>
                  <a:cubicBezTo>
                    <a:pt x="3884" y="30"/>
                    <a:pt x="3869" y="30"/>
                    <a:pt x="3854" y="44"/>
                  </a:cubicBezTo>
                  <a:cubicBezTo>
                    <a:pt x="3832" y="67"/>
                    <a:pt x="3832" y="67"/>
                    <a:pt x="3810" y="67"/>
                  </a:cubicBezTo>
                  <a:cubicBezTo>
                    <a:pt x="3787" y="74"/>
                    <a:pt x="3780" y="82"/>
                    <a:pt x="3765" y="97"/>
                  </a:cubicBezTo>
                  <a:cubicBezTo>
                    <a:pt x="3750" y="104"/>
                    <a:pt x="3720" y="104"/>
                    <a:pt x="3706" y="112"/>
                  </a:cubicBezTo>
                  <a:cubicBezTo>
                    <a:pt x="3691" y="112"/>
                    <a:pt x="3668" y="112"/>
                    <a:pt x="3654" y="119"/>
                  </a:cubicBezTo>
                  <a:cubicBezTo>
                    <a:pt x="3646" y="119"/>
                    <a:pt x="3646" y="134"/>
                    <a:pt x="3639" y="134"/>
                  </a:cubicBezTo>
                  <a:cubicBezTo>
                    <a:pt x="3631" y="141"/>
                    <a:pt x="3624" y="134"/>
                    <a:pt x="3617" y="134"/>
                  </a:cubicBezTo>
                  <a:cubicBezTo>
                    <a:pt x="3602" y="141"/>
                    <a:pt x="3602" y="149"/>
                    <a:pt x="3594" y="156"/>
                  </a:cubicBezTo>
                  <a:cubicBezTo>
                    <a:pt x="3587" y="163"/>
                    <a:pt x="3579" y="163"/>
                    <a:pt x="3572" y="171"/>
                  </a:cubicBezTo>
                  <a:cubicBezTo>
                    <a:pt x="3565" y="171"/>
                    <a:pt x="3550" y="171"/>
                    <a:pt x="3542" y="178"/>
                  </a:cubicBezTo>
                  <a:cubicBezTo>
                    <a:pt x="3535" y="178"/>
                    <a:pt x="3527" y="186"/>
                    <a:pt x="3520" y="193"/>
                  </a:cubicBezTo>
                  <a:cubicBezTo>
                    <a:pt x="3498" y="201"/>
                    <a:pt x="3483" y="193"/>
                    <a:pt x="3468" y="208"/>
                  </a:cubicBezTo>
                  <a:cubicBezTo>
                    <a:pt x="3453" y="215"/>
                    <a:pt x="3453" y="215"/>
                    <a:pt x="3446" y="215"/>
                  </a:cubicBezTo>
                  <a:cubicBezTo>
                    <a:pt x="3431" y="223"/>
                    <a:pt x="3431" y="230"/>
                    <a:pt x="3423" y="238"/>
                  </a:cubicBezTo>
                  <a:cubicBezTo>
                    <a:pt x="3416" y="238"/>
                    <a:pt x="3401" y="238"/>
                    <a:pt x="3394" y="238"/>
                  </a:cubicBezTo>
                  <a:cubicBezTo>
                    <a:pt x="3379" y="245"/>
                    <a:pt x="3386" y="245"/>
                    <a:pt x="3371" y="252"/>
                  </a:cubicBezTo>
                  <a:lnTo>
                    <a:pt x="3371" y="260"/>
                  </a:lnTo>
                  <a:cubicBezTo>
                    <a:pt x="3364" y="260"/>
                    <a:pt x="3364" y="260"/>
                    <a:pt x="3357" y="260"/>
                  </a:cubicBezTo>
                  <a:cubicBezTo>
                    <a:pt x="3357" y="267"/>
                    <a:pt x="3342" y="267"/>
                    <a:pt x="3342" y="267"/>
                  </a:cubicBezTo>
                  <a:cubicBezTo>
                    <a:pt x="3327" y="275"/>
                    <a:pt x="3320" y="282"/>
                    <a:pt x="3312" y="290"/>
                  </a:cubicBezTo>
                  <a:cubicBezTo>
                    <a:pt x="3297" y="304"/>
                    <a:pt x="3282" y="312"/>
                    <a:pt x="3267" y="319"/>
                  </a:cubicBezTo>
                  <a:cubicBezTo>
                    <a:pt x="3245" y="327"/>
                    <a:pt x="3223" y="342"/>
                    <a:pt x="3208" y="349"/>
                  </a:cubicBezTo>
                  <a:cubicBezTo>
                    <a:pt x="3186" y="371"/>
                    <a:pt x="3171" y="357"/>
                    <a:pt x="3149" y="364"/>
                  </a:cubicBezTo>
                  <a:cubicBezTo>
                    <a:pt x="3149" y="386"/>
                    <a:pt x="3119" y="371"/>
                    <a:pt x="3104" y="379"/>
                  </a:cubicBezTo>
                  <a:cubicBezTo>
                    <a:pt x="3089" y="386"/>
                    <a:pt x="3074" y="401"/>
                    <a:pt x="3052" y="401"/>
                  </a:cubicBezTo>
                  <a:cubicBezTo>
                    <a:pt x="3037" y="401"/>
                    <a:pt x="3015" y="379"/>
                    <a:pt x="3000" y="371"/>
                  </a:cubicBezTo>
                  <a:cubicBezTo>
                    <a:pt x="2993" y="371"/>
                    <a:pt x="2963" y="357"/>
                    <a:pt x="2948" y="357"/>
                  </a:cubicBezTo>
                  <a:cubicBezTo>
                    <a:pt x="2941" y="364"/>
                    <a:pt x="2941" y="371"/>
                    <a:pt x="2941" y="379"/>
                  </a:cubicBezTo>
                  <a:cubicBezTo>
                    <a:pt x="2941" y="394"/>
                    <a:pt x="2948" y="386"/>
                    <a:pt x="2955" y="394"/>
                  </a:cubicBezTo>
                  <a:cubicBezTo>
                    <a:pt x="2970" y="409"/>
                    <a:pt x="2970" y="460"/>
                    <a:pt x="2970" y="475"/>
                  </a:cubicBezTo>
                  <a:cubicBezTo>
                    <a:pt x="2963" y="483"/>
                    <a:pt x="2963" y="483"/>
                    <a:pt x="2963" y="483"/>
                  </a:cubicBezTo>
                  <a:cubicBezTo>
                    <a:pt x="2948" y="483"/>
                    <a:pt x="2941" y="505"/>
                    <a:pt x="2926" y="520"/>
                  </a:cubicBezTo>
                  <a:cubicBezTo>
                    <a:pt x="2918" y="527"/>
                    <a:pt x="2904" y="542"/>
                    <a:pt x="2896" y="549"/>
                  </a:cubicBezTo>
                  <a:cubicBezTo>
                    <a:pt x="2881" y="564"/>
                    <a:pt x="2866" y="572"/>
                    <a:pt x="2859" y="587"/>
                  </a:cubicBezTo>
                  <a:cubicBezTo>
                    <a:pt x="2852" y="587"/>
                    <a:pt x="2844" y="594"/>
                    <a:pt x="2844" y="602"/>
                  </a:cubicBezTo>
                  <a:cubicBezTo>
                    <a:pt x="2837" y="602"/>
                    <a:pt x="2829" y="609"/>
                    <a:pt x="2822" y="616"/>
                  </a:cubicBezTo>
                  <a:cubicBezTo>
                    <a:pt x="2800" y="639"/>
                    <a:pt x="2785" y="661"/>
                    <a:pt x="2763" y="691"/>
                  </a:cubicBezTo>
                  <a:cubicBezTo>
                    <a:pt x="2755" y="698"/>
                    <a:pt x="2748" y="713"/>
                    <a:pt x="2748" y="735"/>
                  </a:cubicBezTo>
                  <a:cubicBezTo>
                    <a:pt x="2740" y="750"/>
                    <a:pt x="2748" y="765"/>
                    <a:pt x="2748" y="780"/>
                  </a:cubicBezTo>
                  <a:cubicBezTo>
                    <a:pt x="2725" y="780"/>
                    <a:pt x="2718" y="780"/>
                    <a:pt x="2703" y="795"/>
                  </a:cubicBezTo>
                  <a:cubicBezTo>
                    <a:pt x="2696" y="809"/>
                    <a:pt x="2688" y="824"/>
                    <a:pt x="2681" y="839"/>
                  </a:cubicBezTo>
                  <a:cubicBezTo>
                    <a:pt x="2666" y="854"/>
                    <a:pt x="2651" y="861"/>
                    <a:pt x="2629" y="869"/>
                  </a:cubicBezTo>
                  <a:cubicBezTo>
                    <a:pt x="2614" y="869"/>
                    <a:pt x="2592" y="869"/>
                    <a:pt x="2569" y="869"/>
                  </a:cubicBezTo>
                  <a:cubicBezTo>
                    <a:pt x="2562" y="869"/>
                    <a:pt x="2555" y="869"/>
                    <a:pt x="2547" y="869"/>
                  </a:cubicBezTo>
                  <a:cubicBezTo>
                    <a:pt x="2532" y="869"/>
                    <a:pt x="2532" y="876"/>
                    <a:pt x="2518" y="884"/>
                  </a:cubicBezTo>
                  <a:cubicBezTo>
                    <a:pt x="2503" y="891"/>
                    <a:pt x="2480" y="891"/>
                    <a:pt x="2465" y="891"/>
                  </a:cubicBezTo>
                  <a:cubicBezTo>
                    <a:pt x="2421" y="884"/>
                    <a:pt x="2384" y="884"/>
                    <a:pt x="2354" y="914"/>
                  </a:cubicBezTo>
                  <a:cubicBezTo>
                    <a:pt x="2339" y="921"/>
                    <a:pt x="2310" y="921"/>
                    <a:pt x="2287" y="928"/>
                  </a:cubicBezTo>
                  <a:cubicBezTo>
                    <a:pt x="2258" y="928"/>
                    <a:pt x="2235" y="936"/>
                    <a:pt x="2206" y="921"/>
                  </a:cubicBezTo>
                  <a:cubicBezTo>
                    <a:pt x="2183" y="906"/>
                    <a:pt x="2161" y="899"/>
                    <a:pt x="2139" y="891"/>
                  </a:cubicBezTo>
                  <a:cubicBezTo>
                    <a:pt x="2102" y="884"/>
                    <a:pt x="2064" y="869"/>
                    <a:pt x="2020" y="869"/>
                  </a:cubicBezTo>
                  <a:cubicBezTo>
                    <a:pt x="1998" y="869"/>
                    <a:pt x="1998" y="891"/>
                    <a:pt x="1975" y="899"/>
                  </a:cubicBezTo>
                  <a:cubicBezTo>
                    <a:pt x="1968" y="899"/>
                    <a:pt x="1961" y="899"/>
                    <a:pt x="1946" y="899"/>
                  </a:cubicBezTo>
                  <a:cubicBezTo>
                    <a:pt x="1938" y="899"/>
                    <a:pt x="1931" y="914"/>
                    <a:pt x="1923" y="914"/>
                  </a:cubicBezTo>
                  <a:cubicBezTo>
                    <a:pt x="1894" y="928"/>
                    <a:pt x="1871" y="943"/>
                    <a:pt x="1842" y="951"/>
                  </a:cubicBezTo>
                  <a:cubicBezTo>
                    <a:pt x="1827" y="951"/>
                    <a:pt x="1805" y="951"/>
                    <a:pt x="1790" y="958"/>
                  </a:cubicBezTo>
                  <a:cubicBezTo>
                    <a:pt x="1775" y="958"/>
                    <a:pt x="1767" y="973"/>
                    <a:pt x="1753" y="973"/>
                  </a:cubicBezTo>
                  <a:cubicBezTo>
                    <a:pt x="1738" y="973"/>
                    <a:pt x="1723" y="980"/>
                    <a:pt x="1708" y="980"/>
                  </a:cubicBezTo>
                  <a:cubicBezTo>
                    <a:pt x="1686" y="988"/>
                    <a:pt x="1671" y="988"/>
                    <a:pt x="1648" y="995"/>
                  </a:cubicBezTo>
                  <a:cubicBezTo>
                    <a:pt x="1626" y="1003"/>
                    <a:pt x="1604" y="1003"/>
                    <a:pt x="1574" y="995"/>
                  </a:cubicBezTo>
                  <a:cubicBezTo>
                    <a:pt x="1559" y="995"/>
                    <a:pt x="1545" y="988"/>
                    <a:pt x="1530" y="973"/>
                  </a:cubicBezTo>
                  <a:cubicBezTo>
                    <a:pt x="1530" y="973"/>
                    <a:pt x="1530" y="973"/>
                    <a:pt x="1522" y="973"/>
                  </a:cubicBezTo>
                  <a:cubicBezTo>
                    <a:pt x="1508" y="980"/>
                    <a:pt x="1515" y="988"/>
                    <a:pt x="1515" y="995"/>
                  </a:cubicBezTo>
                  <a:cubicBezTo>
                    <a:pt x="1515" y="1025"/>
                    <a:pt x="1522" y="1040"/>
                    <a:pt x="1493" y="1054"/>
                  </a:cubicBezTo>
                  <a:cubicBezTo>
                    <a:pt x="1493" y="1032"/>
                    <a:pt x="1500" y="1010"/>
                    <a:pt x="1478" y="1003"/>
                  </a:cubicBezTo>
                  <a:cubicBezTo>
                    <a:pt x="1441" y="995"/>
                    <a:pt x="1441" y="1017"/>
                    <a:pt x="1426" y="1032"/>
                  </a:cubicBezTo>
                  <a:cubicBezTo>
                    <a:pt x="1403" y="1054"/>
                    <a:pt x="1366" y="1032"/>
                    <a:pt x="1337" y="1040"/>
                  </a:cubicBezTo>
                  <a:cubicBezTo>
                    <a:pt x="1307" y="1047"/>
                    <a:pt x="1285" y="1069"/>
                    <a:pt x="1255" y="1062"/>
                  </a:cubicBezTo>
                  <a:cubicBezTo>
                    <a:pt x="1255" y="1047"/>
                    <a:pt x="1255" y="1032"/>
                    <a:pt x="1255" y="1025"/>
                  </a:cubicBezTo>
                  <a:cubicBezTo>
                    <a:pt x="1240" y="1025"/>
                    <a:pt x="1233" y="1017"/>
                    <a:pt x="1218" y="1017"/>
                  </a:cubicBezTo>
                  <a:cubicBezTo>
                    <a:pt x="1210" y="1017"/>
                    <a:pt x="1196" y="1025"/>
                    <a:pt x="1188" y="1025"/>
                  </a:cubicBezTo>
                  <a:cubicBezTo>
                    <a:pt x="1166" y="1032"/>
                    <a:pt x="1158" y="1040"/>
                    <a:pt x="1158" y="1069"/>
                  </a:cubicBezTo>
                  <a:cubicBezTo>
                    <a:pt x="1121" y="1084"/>
                    <a:pt x="1077" y="1084"/>
                    <a:pt x="1040" y="1077"/>
                  </a:cubicBezTo>
                  <a:cubicBezTo>
                    <a:pt x="1017" y="1069"/>
                    <a:pt x="995" y="1062"/>
                    <a:pt x="973" y="1069"/>
                  </a:cubicBezTo>
                  <a:cubicBezTo>
                    <a:pt x="943" y="1077"/>
                    <a:pt x="936" y="1092"/>
                    <a:pt x="906" y="1084"/>
                  </a:cubicBezTo>
                  <a:cubicBezTo>
                    <a:pt x="869" y="1084"/>
                    <a:pt x="839" y="1077"/>
                    <a:pt x="809" y="1077"/>
                  </a:cubicBezTo>
                  <a:cubicBezTo>
                    <a:pt x="772" y="1069"/>
                    <a:pt x="728" y="1077"/>
                    <a:pt x="698" y="1062"/>
                  </a:cubicBezTo>
                  <a:cubicBezTo>
                    <a:pt x="676" y="1054"/>
                    <a:pt x="639" y="1032"/>
                    <a:pt x="616" y="1017"/>
                  </a:cubicBezTo>
                  <a:cubicBezTo>
                    <a:pt x="594" y="1003"/>
                    <a:pt x="572" y="988"/>
                    <a:pt x="549" y="980"/>
                  </a:cubicBezTo>
                  <a:cubicBezTo>
                    <a:pt x="520" y="980"/>
                    <a:pt x="475" y="980"/>
                    <a:pt x="438" y="988"/>
                  </a:cubicBezTo>
                  <a:cubicBezTo>
                    <a:pt x="438" y="1025"/>
                    <a:pt x="438" y="1047"/>
                    <a:pt x="394" y="1054"/>
                  </a:cubicBezTo>
                  <a:cubicBezTo>
                    <a:pt x="364" y="1069"/>
                    <a:pt x="334" y="1069"/>
                    <a:pt x="304" y="1084"/>
                  </a:cubicBezTo>
                  <a:cubicBezTo>
                    <a:pt x="275" y="1092"/>
                    <a:pt x="252" y="1092"/>
                    <a:pt x="223" y="1099"/>
                  </a:cubicBezTo>
                  <a:cubicBezTo>
                    <a:pt x="201" y="1106"/>
                    <a:pt x="178" y="1114"/>
                    <a:pt x="156" y="1129"/>
                  </a:cubicBezTo>
                  <a:cubicBezTo>
                    <a:pt x="156" y="1159"/>
                    <a:pt x="141" y="1173"/>
                    <a:pt x="134" y="1203"/>
                  </a:cubicBezTo>
                  <a:cubicBezTo>
                    <a:pt x="119" y="1233"/>
                    <a:pt x="104" y="1292"/>
                    <a:pt x="119" y="1329"/>
                  </a:cubicBezTo>
                  <a:cubicBezTo>
                    <a:pt x="119" y="1344"/>
                    <a:pt x="134" y="1359"/>
                    <a:pt x="156" y="1359"/>
                  </a:cubicBezTo>
                  <a:cubicBezTo>
                    <a:pt x="149" y="1374"/>
                    <a:pt x="141" y="1389"/>
                    <a:pt x="126" y="1404"/>
                  </a:cubicBezTo>
                  <a:cubicBezTo>
                    <a:pt x="111" y="1426"/>
                    <a:pt x="97" y="1433"/>
                    <a:pt x="82" y="1456"/>
                  </a:cubicBezTo>
                  <a:cubicBezTo>
                    <a:pt x="67" y="1470"/>
                    <a:pt x="59" y="1478"/>
                    <a:pt x="44" y="1493"/>
                  </a:cubicBezTo>
                  <a:cubicBezTo>
                    <a:pt x="22" y="1508"/>
                    <a:pt x="7" y="1522"/>
                    <a:pt x="0" y="1545"/>
                  </a:cubicBezTo>
                  <a:cubicBezTo>
                    <a:pt x="0" y="1545"/>
                    <a:pt x="7" y="1545"/>
                    <a:pt x="15" y="1537"/>
                  </a:cubicBezTo>
                  <a:cubicBezTo>
                    <a:pt x="22" y="1530"/>
                    <a:pt x="22" y="1522"/>
                    <a:pt x="44" y="1508"/>
                  </a:cubicBezTo>
                  <a:cubicBezTo>
                    <a:pt x="134" y="1456"/>
                    <a:pt x="89" y="1649"/>
                    <a:pt x="141" y="1671"/>
                  </a:cubicBezTo>
                  <a:cubicBezTo>
                    <a:pt x="149" y="1716"/>
                    <a:pt x="134" y="1738"/>
                    <a:pt x="126" y="1775"/>
                  </a:cubicBezTo>
                  <a:cubicBezTo>
                    <a:pt x="126" y="1805"/>
                    <a:pt x="141" y="1842"/>
                    <a:pt x="141" y="1879"/>
                  </a:cubicBezTo>
                  <a:cubicBezTo>
                    <a:pt x="141" y="1916"/>
                    <a:pt x="134" y="1961"/>
                    <a:pt x="134" y="2005"/>
                  </a:cubicBezTo>
                  <a:cubicBezTo>
                    <a:pt x="163" y="2005"/>
                    <a:pt x="193" y="2005"/>
                    <a:pt x="208" y="1998"/>
                  </a:cubicBezTo>
                  <a:cubicBezTo>
                    <a:pt x="230" y="1983"/>
                    <a:pt x="201" y="1908"/>
                    <a:pt x="193" y="1886"/>
                  </a:cubicBezTo>
                  <a:cubicBezTo>
                    <a:pt x="186" y="1886"/>
                    <a:pt x="178" y="1879"/>
                    <a:pt x="171" y="1886"/>
                  </a:cubicBezTo>
                  <a:cubicBezTo>
                    <a:pt x="171" y="1864"/>
                    <a:pt x="171" y="1849"/>
                    <a:pt x="171" y="1834"/>
                  </a:cubicBezTo>
                  <a:cubicBezTo>
                    <a:pt x="208" y="1827"/>
                    <a:pt x="208" y="1797"/>
                    <a:pt x="230" y="1782"/>
                  </a:cubicBezTo>
                  <a:cubicBezTo>
                    <a:pt x="245" y="1760"/>
                    <a:pt x="238" y="1760"/>
                    <a:pt x="267" y="1760"/>
                  </a:cubicBezTo>
                  <a:cubicBezTo>
                    <a:pt x="304" y="1760"/>
                    <a:pt x="431" y="1782"/>
                    <a:pt x="431" y="1716"/>
                  </a:cubicBezTo>
                  <a:cubicBezTo>
                    <a:pt x="460" y="1716"/>
                    <a:pt x="483" y="1723"/>
                    <a:pt x="512" y="1716"/>
                  </a:cubicBezTo>
                  <a:cubicBezTo>
                    <a:pt x="542" y="1708"/>
                    <a:pt x="557" y="1701"/>
                    <a:pt x="579" y="1708"/>
                  </a:cubicBezTo>
                  <a:cubicBezTo>
                    <a:pt x="601" y="1716"/>
                    <a:pt x="609" y="1730"/>
                    <a:pt x="631" y="1730"/>
                  </a:cubicBezTo>
                  <a:cubicBezTo>
                    <a:pt x="661" y="1738"/>
                    <a:pt x="698" y="1745"/>
                    <a:pt x="728" y="1738"/>
                  </a:cubicBezTo>
                  <a:cubicBezTo>
                    <a:pt x="757" y="1738"/>
                    <a:pt x="780" y="1723"/>
                    <a:pt x="809" y="1723"/>
                  </a:cubicBezTo>
                  <a:cubicBezTo>
                    <a:pt x="832" y="1723"/>
                    <a:pt x="854" y="1738"/>
                    <a:pt x="876" y="1745"/>
                  </a:cubicBezTo>
                  <a:cubicBezTo>
                    <a:pt x="906" y="1760"/>
                    <a:pt x="928" y="1738"/>
                    <a:pt x="951" y="1767"/>
                  </a:cubicBezTo>
                  <a:cubicBezTo>
                    <a:pt x="965" y="1782"/>
                    <a:pt x="958" y="1819"/>
                    <a:pt x="988" y="1819"/>
                  </a:cubicBezTo>
                  <a:cubicBezTo>
                    <a:pt x="1010" y="1827"/>
                    <a:pt x="1010" y="1790"/>
                    <a:pt x="1017" y="1790"/>
                  </a:cubicBezTo>
                  <a:cubicBezTo>
                    <a:pt x="1040" y="1775"/>
                    <a:pt x="1047" y="1775"/>
                    <a:pt x="1069" y="1782"/>
                  </a:cubicBezTo>
                  <a:cubicBezTo>
                    <a:pt x="1069" y="1797"/>
                    <a:pt x="1062" y="1834"/>
                    <a:pt x="1069" y="1856"/>
                  </a:cubicBezTo>
                  <a:cubicBezTo>
                    <a:pt x="1077" y="1879"/>
                    <a:pt x="1091" y="1879"/>
                    <a:pt x="1121" y="1879"/>
                  </a:cubicBezTo>
                  <a:cubicBezTo>
                    <a:pt x="1129" y="1856"/>
                    <a:pt x="1129" y="1842"/>
                    <a:pt x="1144" y="1834"/>
                  </a:cubicBezTo>
                  <a:cubicBezTo>
                    <a:pt x="1151" y="1827"/>
                    <a:pt x="1166" y="1834"/>
                    <a:pt x="1181" y="1819"/>
                  </a:cubicBezTo>
                  <a:cubicBezTo>
                    <a:pt x="1188" y="1767"/>
                    <a:pt x="1225" y="1782"/>
                    <a:pt x="1262" y="1782"/>
                  </a:cubicBezTo>
                  <a:cubicBezTo>
                    <a:pt x="1322" y="1767"/>
                    <a:pt x="1262" y="1753"/>
                    <a:pt x="1270" y="1723"/>
                  </a:cubicBezTo>
                  <a:cubicBezTo>
                    <a:pt x="1270" y="1686"/>
                    <a:pt x="1314" y="1693"/>
                    <a:pt x="1314" y="1663"/>
                  </a:cubicBezTo>
                  <a:cubicBezTo>
                    <a:pt x="1337" y="1663"/>
                    <a:pt x="1359" y="1663"/>
                    <a:pt x="1381" y="1678"/>
                  </a:cubicBezTo>
                  <a:cubicBezTo>
                    <a:pt x="1396" y="1693"/>
                    <a:pt x="1389" y="1730"/>
                    <a:pt x="1418" y="1745"/>
                  </a:cubicBezTo>
                  <a:cubicBezTo>
                    <a:pt x="1418" y="1708"/>
                    <a:pt x="1433" y="1708"/>
                    <a:pt x="1441" y="1678"/>
                  </a:cubicBezTo>
                  <a:cubicBezTo>
                    <a:pt x="1448" y="1656"/>
                    <a:pt x="1426" y="1634"/>
                    <a:pt x="1463" y="1611"/>
                  </a:cubicBezTo>
                  <a:cubicBezTo>
                    <a:pt x="1508" y="1589"/>
                    <a:pt x="1574" y="1671"/>
                    <a:pt x="1611" y="1619"/>
                  </a:cubicBezTo>
                  <a:cubicBezTo>
                    <a:pt x="1634" y="1619"/>
                    <a:pt x="1656" y="1619"/>
                    <a:pt x="1686" y="1619"/>
                  </a:cubicBezTo>
                  <a:cubicBezTo>
                    <a:pt x="1716" y="1619"/>
                    <a:pt x="1745" y="1611"/>
                    <a:pt x="1775" y="1611"/>
                  </a:cubicBezTo>
                  <a:cubicBezTo>
                    <a:pt x="1782" y="1634"/>
                    <a:pt x="1753" y="1634"/>
                    <a:pt x="1730" y="1641"/>
                  </a:cubicBezTo>
                  <a:cubicBezTo>
                    <a:pt x="1723" y="1649"/>
                    <a:pt x="1701" y="1678"/>
                    <a:pt x="1701" y="1693"/>
                  </a:cubicBezTo>
                  <a:cubicBezTo>
                    <a:pt x="1745" y="1701"/>
                    <a:pt x="1738" y="1730"/>
                    <a:pt x="1730" y="1767"/>
                  </a:cubicBezTo>
                  <a:cubicBezTo>
                    <a:pt x="1723" y="1797"/>
                    <a:pt x="1723" y="1827"/>
                    <a:pt x="1723" y="1864"/>
                  </a:cubicBezTo>
                  <a:cubicBezTo>
                    <a:pt x="1760" y="1871"/>
                    <a:pt x="1775" y="1842"/>
                    <a:pt x="1805" y="1834"/>
                  </a:cubicBezTo>
                  <a:cubicBezTo>
                    <a:pt x="1834" y="1827"/>
                    <a:pt x="1871" y="1812"/>
                    <a:pt x="1901" y="1819"/>
                  </a:cubicBezTo>
                  <a:cubicBezTo>
                    <a:pt x="1938" y="1834"/>
                    <a:pt x="1931" y="1871"/>
                    <a:pt x="1968" y="1886"/>
                  </a:cubicBezTo>
                  <a:cubicBezTo>
                    <a:pt x="1983" y="1894"/>
                    <a:pt x="2027" y="1901"/>
                    <a:pt x="2050" y="1901"/>
                  </a:cubicBezTo>
                  <a:cubicBezTo>
                    <a:pt x="2020" y="1908"/>
                    <a:pt x="2020" y="1990"/>
                    <a:pt x="2020" y="2005"/>
                  </a:cubicBezTo>
                  <a:cubicBezTo>
                    <a:pt x="2035" y="2057"/>
                    <a:pt x="2102" y="2057"/>
                    <a:pt x="2131" y="2094"/>
                  </a:cubicBezTo>
                  <a:cubicBezTo>
                    <a:pt x="2139" y="2116"/>
                    <a:pt x="2139" y="2146"/>
                    <a:pt x="2131" y="2168"/>
                  </a:cubicBezTo>
                  <a:cubicBezTo>
                    <a:pt x="2116" y="2176"/>
                    <a:pt x="2102" y="2183"/>
                    <a:pt x="2087" y="2191"/>
                  </a:cubicBezTo>
                  <a:cubicBezTo>
                    <a:pt x="2057" y="2206"/>
                    <a:pt x="2035" y="2250"/>
                    <a:pt x="1998" y="2265"/>
                  </a:cubicBezTo>
                  <a:cubicBezTo>
                    <a:pt x="1975" y="2280"/>
                    <a:pt x="1946" y="2280"/>
                    <a:pt x="1916" y="2295"/>
                  </a:cubicBezTo>
                  <a:cubicBezTo>
                    <a:pt x="1938" y="2317"/>
                    <a:pt x="1931" y="2354"/>
                    <a:pt x="1931" y="2369"/>
                  </a:cubicBezTo>
                  <a:cubicBezTo>
                    <a:pt x="1953" y="2376"/>
                    <a:pt x="1975" y="2376"/>
                    <a:pt x="1990" y="2391"/>
                  </a:cubicBezTo>
                  <a:cubicBezTo>
                    <a:pt x="1998" y="2399"/>
                    <a:pt x="2005" y="2436"/>
                    <a:pt x="1990" y="2451"/>
                  </a:cubicBezTo>
                  <a:cubicBezTo>
                    <a:pt x="1961" y="2495"/>
                    <a:pt x="1871" y="2413"/>
                    <a:pt x="1834" y="2413"/>
                  </a:cubicBezTo>
                  <a:cubicBezTo>
                    <a:pt x="1812" y="2458"/>
                    <a:pt x="1834" y="2458"/>
                    <a:pt x="1856" y="2495"/>
                  </a:cubicBezTo>
                  <a:cubicBezTo>
                    <a:pt x="1879" y="2540"/>
                    <a:pt x="1842" y="2555"/>
                    <a:pt x="1819" y="2577"/>
                  </a:cubicBezTo>
                  <a:cubicBezTo>
                    <a:pt x="1812" y="2592"/>
                    <a:pt x="1805" y="2614"/>
                    <a:pt x="1805" y="2636"/>
                  </a:cubicBezTo>
                  <a:cubicBezTo>
                    <a:pt x="1805" y="2673"/>
                    <a:pt x="1805" y="2673"/>
                    <a:pt x="1790" y="2696"/>
                  </a:cubicBezTo>
                  <a:cubicBezTo>
                    <a:pt x="1775" y="2703"/>
                    <a:pt x="1767" y="2718"/>
                    <a:pt x="1753" y="2725"/>
                  </a:cubicBezTo>
                  <a:cubicBezTo>
                    <a:pt x="1753" y="2740"/>
                    <a:pt x="1753" y="2748"/>
                    <a:pt x="1753" y="2755"/>
                  </a:cubicBezTo>
                  <a:cubicBezTo>
                    <a:pt x="1745" y="2763"/>
                    <a:pt x="1738" y="2755"/>
                    <a:pt x="1730" y="2763"/>
                  </a:cubicBezTo>
                  <a:lnTo>
                    <a:pt x="1730" y="2763"/>
                  </a:lnTo>
                  <a:cubicBezTo>
                    <a:pt x="1745" y="2792"/>
                    <a:pt x="1760" y="2837"/>
                    <a:pt x="1753" y="2881"/>
                  </a:cubicBezTo>
                </a:path>
              </a:pathLst>
            </a:custGeom>
            <a:grpFill/>
            <a:ln w="6350" cap="flat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lIns="60927" tIns="30463" rIns="60927" bIns="30463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44" name="Freeform 36"/>
            <p:cNvSpPr>
              <a:spLocks noChangeArrowheads="1"/>
            </p:cNvSpPr>
            <p:nvPr/>
          </p:nvSpPr>
          <p:spPr bwMode="auto">
            <a:xfrm>
              <a:off x="9321595" y="8181741"/>
              <a:ext cx="26689" cy="26671"/>
            </a:xfrm>
            <a:custGeom>
              <a:avLst/>
              <a:gdLst>
                <a:gd name="T0" fmla="*/ 15 w 61"/>
                <a:gd name="T1" fmla="*/ 59 h 60"/>
                <a:gd name="T2" fmla="*/ 15 w 61"/>
                <a:gd name="T3" fmla="*/ 59 h 60"/>
                <a:gd name="T4" fmla="*/ 37 w 61"/>
                <a:gd name="T5" fmla="*/ 22 h 60"/>
                <a:gd name="T6" fmla="*/ 60 w 61"/>
                <a:gd name="T7" fmla="*/ 22 h 60"/>
                <a:gd name="T8" fmla="*/ 60 w 61"/>
                <a:gd name="T9" fmla="*/ 15 h 60"/>
                <a:gd name="T10" fmla="*/ 45 w 61"/>
                <a:gd name="T11" fmla="*/ 0 h 60"/>
                <a:gd name="T12" fmla="*/ 37 w 61"/>
                <a:gd name="T13" fmla="*/ 7 h 60"/>
                <a:gd name="T14" fmla="*/ 7 w 61"/>
                <a:gd name="T15" fmla="*/ 29 h 60"/>
                <a:gd name="T16" fmla="*/ 0 w 61"/>
                <a:gd name="T17" fmla="*/ 59 h 60"/>
                <a:gd name="T18" fmla="*/ 15 w 61"/>
                <a:gd name="T19" fmla="*/ 59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1" h="60">
                  <a:moveTo>
                    <a:pt x="15" y="59"/>
                  </a:moveTo>
                  <a:lnTo>
                    <a:pt x="15" y="59"/>
                  </a:lnTo>
                  <a:cubicBezTo>
                    <a:pt x="22" y="44"/>
                    <a:pt x="30" y="29"/>
                    <a:pt x="37" y="22"/>
                  </a:cubicBezTo>
                  <a:cubicBezTo>
                    <a:pt x="37" y="22"/>
                    <a:pt x="45" y="22"/>
                    <a:pt x="60" y="22"/>
                  </a:cubicBezTo>
                  <a:lnTo>
                    <a:pt x="60" y="15"/>
                  </a:lnTo>
                  <a:cubicBezTo>
                    <a:pt x="60" y="7"/>
                    <a:pt x="52" y="7"/>
                    <a:pt x="45" y="0"/>
                  </a:cubicBezTo>
                  <a:cubicBezTo>
                    <a:pt x="37" y="0"/>
                    <a:pt x="37" y="7"/>
                    <a:pt x="37" y="7"/>
                  </a:cubicBezTo>
                  <a:cubicBezTo>
                    <a:pt x="30" y="15"/>
                    <a:pt x="15" y="15"/>
                    <a:pt x="7" y="29"/>
                  </a:cubicBezTo>
                  <a:cubicBezTo>
                    <a:pt x="0" y="37"/>
                    <a:pt x="0" y="44"/>
                    <a:pt x="0" y="59"/>
                  </a:cubicBezTo>
                  <a:cubicBezTo>
                    <a:pt x="7" y="59"/>
                    <a:pt x="15" y="59"/>
                    <a:pt x="15" y="59"/>
                  </a:cubicBezTo>
                </a:path>
              </a:pathLst>
            </a:custGeom>
            <a:grpFill/>
            <a:ln w="6350" cap="flat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lIns="60927" tIns="30463" rIns="60927" bIns="30463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45" name="Freeform 37"/>
            <p:cNvSpPr>
              <a:spLocks noChangeArrowheads="1"/>
            </p:cNvSpPr>
            <p:nvPr/>
          </p:nvSpPr>
          <p:spPr bwMode="auto">
            <a:xfrm>
              <a:off x="10661771" y="4903067"/>
              <a:ext cx="55284" cy="83824"/>
            </a:xfrm>
            <a:custGeom>
              <a:avLst/>
              <a:gdLst>
                <a:gd name="T0" fmla="*/ 126 w 127"/>
                <a:gd name="T1" fmla="*/ 52 h 194"/>
                <a:gd name="T2" fmla="*/ 126 w 127"/>
                <a:gd name="T3" fmla="*/ 52 h 194"/>
                <a:gd name="T4" fmla="*/ 96 w 127"/>
                <a:gd name="T5" fmla="*/ 15 h 194"/>
                <a:gd name="T6" fmla="*/ 74 w 127"/>
                <a:gd name="T7" fmla="*/ 0 h 194"/>
                <a:gd name="T8" fmla="*/ 7 w 127"/>
                <a:gd name="T9" fmla="*/ 104 h 194"/>
                <a:gd name="T10" fmla="*/ 22 w 127"/>
                <a:gd name="T11" fmla="*/ 127 h 194"/>
                <a:gd name="T12" fmla="*/ 22 w 127"/>
                <a:gd name="T13" fmla="*/ 156 h 194"/>
                <a:gd name="T14" fmla="*/ 44 w 127"/>
                <a:gd name="T15" fmla="*/ 186 h 194"/>
                <a:gd name="T16" fmla="*/ 59 w 127"/>
                <a:gd name="T17" fmla="*/ 186 h 194"/>
                <a:gd name="T18" fmla="*/ 59 w 127"/>
                <a:gd name="T19" fmla="*/ 156 h 194"/>
                <a:gd name="T20" fmla="*/ 66 w 127"/>
                <a:gd name="T21" fmla="*/ 179 h 194"/>
                <a:gd name="T22" fmla="*/ 126 w 127"/>
                <a:gd name="T23" fmla="*/ 52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7" h="194">
                  <a:moveTo>
                    <a:pt x="126" y="52"/>
                  </a:moveTo>
                  <a:lnTo>
                    <a:pt x="126" y="52"/>
                  </a:lnTo>
                  <a:cubicBezTo>
                    <a:pt x="119" y="45"/>
                    <a:pt x="111" y="30"/>
                    <a:pt x="96" y="15"/>
                  </a:cubicBezTo>
                  <a:cubicBezTo>
                    <a:pt x="89" y="8"/>
                    <a:pt x="74" y="0"/>
                    <a:pt x="74" y="0"/>
                  </a:cubicBezTo>
                  <a:cubicBezTo>
                    <a:pt x="52" y="0"/>
                    <a:pt x="15" y="90"/>
                    <a:pt x="7" y="104"/>
                  </a:cubicBezTo>
                  <a:cubicBezTo>
                    <a:pt x="0" y="119"/>
                    <a:pt x="15" y="119"/>
                    <a:pt x="22" y="127"/>
                  </a:cubicBezTo>
                  <a:cubicBezTo>
                    <a:pt x="22" y="141"/>
                    <a:pt x="15" y="149"/>
                    <a:pt x="22" y="156"/>
                  </a:cubicBezTo>
                  <a:lnTo>
                    <a:pt x="44" y="186"/>
                  </a:lnTo>
                  <a:cubicBezTo>
                    <a:pt x="44" y="193"/>
                    <a:pt x="52" y="193"/>
                    <a:pt x="59" y="186"/>
                  </a:cubicBezTo>
                  <a:cubicBezTo>
                    <a:pt x="59" y="179"/>
                    <a:pt x="59" y="156"/>
                    <a:pt x="59" y="156"/>
                  </a:cubicBezTo>
                  <a:cubicBezTo>
                    <a:pt x="66" y="164"/>
                    <a:pt x="66" y="171"/>
                    <a:pt x="66" y="179"/>
                  </a:cubicBezTo>
                  <a:cubicBezTo>
                    <a:pt x="96" y="156"/>
                    <a:pt x="119" y="90"/>
                    <a:pt x="126" y="52"/>
                  </a:cubicBezTo>
                </a:path>
              </a:pathLst>
            </a:custGeom>
            <a:grpFill/>
            <a:ln w="6350" cap="flat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lIns="60927" tIns="30463" rIns="60927" bIns="30463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46" name="Freeform 38"/>
            <p:cNvSpPr>
              <a:spLocks noChangeArrowheads="1"/>
            </p:cNvSpPr>
            <p:nvPr/>
          </p:nvSpPr>
          <p:spPr bwMode="auto">
            <a:xfrm>
              <a:off x="10686553" y="4969745"/>
              <a:ext cx="3813" cy="13337"/>
            </a:xfrm>
            <a:custGeom>
              <a:avLst/>
              <a:gdLst>
                <a:gd name="T0" fmla="*/ 0 w 8"/>
                <a:gd name="T1" fmla="*/ 30 h 31"/>
                <a:gd name="T2" fmla="*/ 0 w 8"/>
                <a:gd name="T3" fmla="*/ 30 h 31"/>
                <a:gd name="T4" fmla="*/ 7 w 8"/>
                <a:gd name="T5" fmla="*/ 23 h 31"/>
                <a:gd name="T6" fmla="*/ 0 w 8"/>
                <a:gd name="T7" fmla="*/ 0 h 31"/>
                <a:gd name="T8" fmla="*/ 0 w 8"/>
                <a:gd name="T9" fmla="*/ 3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31">
                  <a:moveTo>
                    <a:pt x="0" y="30"/>
                  </a:moveTo>
                  <a:lnTo>
                    <a:pt x="0" y="30"/>
                  </a:lnTo>
                  <a:cubicBezTo>
                    <a:pt x="7" y="30"/>
                    <a:pt x="7" y="30"/>
                    <a:pt x="7" y="23"/>
                  </a:cubicBezTo>
                  <a:cubicBezTo>
                    <a:pt x="7" y="15"/>
                    <a:pt x="7" y="8"/>
                    <a:pt x="0" y="0"/>
                  </a:cubicBezTo>
                  <a:cubicBezTo>
                    <a:pt x="0" y="0"/>
                    <a:pt x="0" y="23"/>
                    <a:pt x="0" y="30"/>
                  </a:cubicBezTo>
                </a:path>
              </a:pathLst>
            </a:custGeom>
            <a:grpFill/>
            <a:ln w="6350" cap="flat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lIns="60927" tIns="30463" rIns="60927" bIns="30463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47" name="Freeform 39"/>
            <p:cNvSpPr>
              <a:spLocks noChangeArrowheads="1"/>
            </p:cNvSpPr>
            <p:nvPr/>
          </p:nvSpPr>
          <p:spPr bwMode="auto">
            <a:xfrm>
              <a:off x="10701804" y="4908782"/>
              <a:ext cx="13345" cy="17146"/>
            </a:xfrm>
            <a:custGeom>
              <a:avLst/>
              <a:gdLst>
                <a:gd name="T0" fmla="*/ 30 w 31"/>
                <a:gd name="T1" fmla="*/ 22 h 38"/>
                <a:gd name="T2" fmla="*/ 30 w 31"/>
                <a:gd name="T3" fmla="*/ 22 h 38"/>
                <a:gd name="T4" fmla="*/ 0 w 31"/>
                <a:gd name="T5" fmla="*/ 0 h 38"/>
                <a:gd name="T6" fmla="*/ 30 w 31"/>
                <a:gd name="T7" fmla="*/ 37 h 38"/>
                <a:gd name="T8" fmla="*/ 30 w 31"/>
                <a:gd name="T9" fmla="*/ 22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38">
                  <a:moveTo>
                    <a:pt x="30" y="22"/>
                  </a:moveTo>
                  <a:lnTo>
                    <a:pt x="30" y="22"/>
                  </a:lnTo>
                  <a:cubicBezTo>
                    <a:pt x="30" y="22"/>
                    <a:pt x="15" y="8"/>
                    <a:pt x="0" y="0"/>
                  </a:cubicBezTo>
                  <a:cubicBezTo>
                    <a:pt x="15" y="15"/>
                    <a:pt x="23" y="30"/>
                    <a:pt x="30" y="37"/>
                  </a:cubicBezTo>
                  <a:cubicBezTo>
                    <a:pt x="30" y="30"/>
                    <a:pt x="30" y="22"/>
                    <a:pt x="30" y="22"/>
                  </a:cubicBezTo>
                </a:path>
              </a:pathLst>
            </a:custGeom>
            <a:grpFill/>
            <a:ln w="6350" cap="flat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lIns="60927" tIns="30463" rIns="60927" bIns="30463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48" name="Freeform 40"/>
            <p:cNvSpPr>
              <a:spLocks noChangeArrowheads="1"/>
            </p:cNvSpPr>
            <p:nvPr/>
          </p:nvSpPr>
          <p:spPr bwMode="auto">
            <a:xfrm>
              <a:off x="11241306" y="10982234"/>
              <a:ext cx="97224" cy="93350"/>
            </a:xfrm>
            <a:custGeom>
              <a:avLst/>
              <a:gdLst>
                <a:gd name="T0" fmla="*/ 163 w 224"/>
                <a:gd name="T1" fmla="*/ 74 h 216"/>
                <a:gd name="T2" fmla="*/ 163 w 224"/>
                <a:gd name="T3" fmla="*/ 74 h 216"/>
                <a:gd name="T4" fmla="*/ 134 w 224"/>
                <a:gd name="T5" fmla="*/ 74 h 216"/>
                <a:gd name="T6" fmla="*/ 148 w 224"/>
                <a:gd name="T7" fmla="*/ 59 h 216"/>
                <a:gd name="T8" fmla="*/ 134 w 224"/>
                <a:gd name="T9" fmla="*/ 44 h 216"/>
                <a:gd name="T10" fmla="*/ 134 w 224"/>
                <a:gd name="T11" fmla="*/ 7 h 216"/>
                <a:gd name="T12" fmla="*/ 111 w 224"/>
                <a:gd name="T13" fmla="*/ 37 h 216"/>
                <a:gd name="T14" fmla="*/ 89 w 224"/>
                <a:gd name="T15" fmla="*/ 14 h 216"/>
                <a:gd name="T16" fmla="*/ 44 w 224"/>
                <a:gd name="T17" fmla="*/ 14 h 216"/>
                <a:gd name="T18" fmla="*/ 67 w 224"/>
                <a:gd name="T19" fmla="*/ 44 h 216"/>
                <a:gd name="T20" fmla="*/ 67 w 224"/>
                <a:gd name="T21" fmla="*/ 59 h 216"/>
                <a:gd name="T22" fmla="*/ 52 w 224"/>
                <a:gd name="T23" fmla="*/ 104 h 216"/>
                <a:gd name="T24" fmla="*/ 0 w 224"/>
                <a:gd name="T25" fmla="*/ 118 h 216"/>
                <a:gd name="T26" fmla="*/ 59 w 224"/>
                <a:gd name="T27" fmla="*/ 170 h 216"/>
                <a:gd name="T28" fmla="*/ 96 w 224"/>
                <a:gd name="T29" fmla="*/ 185 h 216"/>
                <a:gd name="T30" fmla="*/ 126 w 224"/>
                <a:gd name="T31" fmla="*/ 185 h 216"/>
                <a:gd name="T32" fmla="*/ 141 w 224"/>
                <a:gd name="T33" fmla="*/ 200 h 216"/>
                <a:gd name="T34" fmla="*/ 148 w 224"/>
                <a:gd name="T35" fmla="*/ 215 h 216"/>
                <a:gd name="T36" fmla="*/ 163 w 224"/>
                <a:gd name="T37" fmla="*/ 215 h 216"/>
                <a:gd name="T38" fmla="*/ 178 w 224"/>
                <a:gd name="T39" fmla="*/ 215 h 216"/>
                <a:gd name="T40" fmla="*/ 200 w 224"/>
                <a:gd name="T41" fmla="*/ 215 h 216"/>
                <a:gd name="T42" fmla="*/ 208 w 224"/>
                <a:gd name="T43" fmla="*/ 170 h 216"/>
                <a:gd name="T44" fmla="*/ 215 w 224"/>
                <a:gd name="T45" fmla="*/ 81 h 216"/>
                <a:gd name="T46" fmla="*/ 223 w 224"/>
                <a:gd name="T47" fmla="*/ 67 h 216"/>
                <a:gd name="T48" fmla="*/ 163 w 224"/>
                <a:gd name="T49" fmla="*/ 74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4" h="216">
                  <a:moveTo>
                    <a:pt x="163" y="74"/>
                  </a:moveTo>
                  <a:lnTo>
                    <a:pt x="163" y="74"/>
                  </a:lnTo>
                  <a:cubicBezTo>
                    <a:pt x="156" y="74"/>
                    <a:pt x="141" y="81"/>
                    <a:pt x="134" y="74"/>
                  </a:cubicBezTo>
                  <a:cubicBezTo>
                    <a:pt x="134" y="67"/>
                    <a:pt x="141" y="59"/>
                    <a:pt x="148" y="59"/>
                  </a:cubicBezTo>
                  <a:cubicBezTo>
                    <a:pt x="141" y="59"/>
                    <a:pt x="134" y="44"/>
                    <a:pt x="134" y="44"/>
                  </a:cubicBezTo>
                  <a:cubicBezTo>
                    <a:pt x="148" y="37"/>
                    <a:pt x="156" y="14"/>
                    <a:pt x="134" y="7"/>
                  </a:cubicBezTo>
                  <a:cubicBezTo>
                    <a:pt x="119" y="0"/>
                    <a:pt x="126" y="29"/>
                    <a:pt x="111" y="37"/>
                  </a:cubicBezTo>
                  <a:cubicBezTo>
                    <a:pt x="89" y="52"/>
                    <a:pt x="96" y="22"/>
                    <a:pt x="89" y="14"/>
                  </a:cubicBezTo>
                  <a:cubicBezTo>
                    <a:pt x="82" y="0"/>
                    <a:pt x="59" y="14"/>
                    <a:pt x="44" y="14"/>
                  </a:cubicBezTo>
                  <a:cubicBezTo>
                    <a:pt x="37" y="29"/>
                    <a:pt x="44" y="44"/>
                    <a:pt x="67" y="44"/>
                  </a:cubicBezTo>
                  <a:cubicBezTo>
                    <a:pt x="67" y="52"/>
                    <a:pt x="67" y="52"/>
                    <a:pt x="67" y="59"/>
                  </a:cubicBezTo>
                  <a:cubicBezTo>
                    <a:pt x="44" y="67"/>
                    <a:pt x="59" y="81"/>
                    <a:pt x="52" y="104"/>
                  </a:cubicBezTo>
                  <a:cubicBezTo>
                    <a:pt x="52" y="104"/>
                    <a:pt x="7" y="96"/>
                    <a:pt x="0" y="118"/>
                  </a:cubicBezTo>
                  <a:cubicBezTo>
                    <a:pt x="22" y="118"/>
                    <a:pt x="82" y="141"/>
                    <a:pt x="59" y="170"/>
                  </a:cubicBezTo>
                  <a:cubicBezTo>
                    <a:pt x="74" y="178"/>
                    <a:pt x="82" y="185"/>
                    <a:pt x="96" y="185"/>
                  </a:cubicBezTo>
                  <a:cubicBezTo>
                    <a:pt x="96" y="200"/>
                    <a:pt x="126" y="200"/>
                    <a:pt x="126" y="185"/>
                  </a:cubicBezTo>
                  <a:cubicBezTo>
                    <a:pt x="134" y="185"/>
                    <a:pt x="141" y="193"/>
                    <a:pt x="141" y="200"/>
                  </a:cubicBezTo>
                  <a:lnTo>
                    <a:pt x="148" y="215"/>
                  </a:lnTo>
                  <a:cubicBezTo>
                    <a:pt x="148" y="215"/>
                    <a:pt x="156" y="215"/>
                    <a:pt x="163" y="215"/>
                  </a:cubicBezTo>
                  <a:cubicBezTo>
                    <a:pt x="163" y="215"/>
                    <a:pt x="171" y="215"/>
                    <a:pt x="178" y="215"/>
                  </a:cubicBezTo>
                  <a:cubicBezTo>
                    <a:pt x="186" y="207"/>
                    <a:pt x="193" y="215"/>
                    <a:pt x="200" y="215"/>
                  </a:cubicBezTo>
                  <a:cubicBezTo>
                    <a:pt x="208" y="200"/>
                    <a:pt x="208" y="185"/>
                    <a:pt x="208" y="170"/>
                  </a:cubicBezTo>
                  <a:cubicBezTo>
                    <a:pt x="208" y="141"/>
                    <a:pt x="208" y="111"/>
                    <a:pt x="215" y="81"/>
                  </a:cubicBezTo>
                  <a:cubicBezTo>
                    <a:pt x="215" y="81"/>
                    <a:pt x="223" y="74"/>
                    <a:pt x="223" y="67"/>
                  </a:cubicBezTo>
                  <a:cubicBezTo>
                    <a:pt x="200" y="59"/>
                    <a:pt x="178" y="67"/>
                    <a:pt x="163" y="74"/>
                  </a:cubicBezTo>
                </a:path>
              </a:pathLst>
            </a:custGeom>
            <a:grpFill/>
            <a:ln w="6350" cap="flat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lIns="60927" tIns="30463" rIns="60927" bIns="30463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49" name="Freeform 41"/>
            <p:cNvSpPr>
              <a:spLocks noChangeArrowheads="1"/>
            </p:cNvSpPr>
            <p:nvPr/>
          </p:nvSpPr>
          <p:spPr bwMode="auto">
            <a:xfrm>
              <a:off x="11281338" y="11319437"/>
              <a:ext cx="55285" cy="64773"/>
            </a:xfrm>
            <a:custGeom>
              <a:avLst/>
              <a:gdLst>
                <a:gd name="T0" fmla="*/ 45 w 127"/>
                <a:gd name="T1" fmla="*/ 97 h 150"/>
                <a:gd name="T2" fmla="*/ 45 w 127"/>
                <a:gd name="T3" fmla="*/ 97 h 150"/>
                <a:gd name="T4" fmla="*/ 45 w 127"/>
                <a:gd name="T5" fmla="*/ 97 h 150"/>
                <a:gd name="T6" fmla="*/ 59 w 127"/>
                <a:gd name="T7" fmla="*/ 112 h 150"/>
                <a:gd name="T8" fmla="*/ 82 w 127"/>
                <a:gd name="T9" fmla="*/ 127 h 150"/>
                <a:gd name="T10" fmla="*/ 119 w 127"/>
                <a:gd name="T11" fmla="*/ 134 h 150"/>
                <a:gd name="T12" fmla="*/ 119 w 127"/>
                <a:gd name="T13" fmla="*/ 45 h 150"/>
                <a:gd name="T14" fmla="*/ 97 w 127"/>
                <a:gd name="T15" fmla="*/ 8 h 150"/>
                <a:gd name="T16" fmla="*/ 37 w 127"/>
                <a:gd name="T17" fmla="*/ 8 h 150"/>
                <a:gd name="T18" fmla="*/ 0 w 127"/>
                <a:gd name="T19" fmla="*/ 45 h 150"/>
                <a:gd name="T20" fmla="*/ 45 w 127"/>
                <a:gd name="T21" fmla="*/ 97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7" h="150">
                  <a:moveTo>
                    <a:pt x="45" y="97"/>
                  </a:moveTo>
                  <a:lnTo>
                    <a:pt x="45" y="97"/>
                  </a:lnTo>
                  <a:lnTo>
                    <a:pt x="45" y="97"/>
                  </a:lnTo>
                  <a:cubicBezTo>
                    <a:pt x="59" y="97"/>
                    <a:pt x="52" y="104"/>
                    <a:pt x="59" y="112"/>
                  </a:cubicBezTo>
                  <a:cubicBezTo>
                    <a:pt x="67" y="119"/>
                    <a:pt x="74" y="119"/>
                    <a:pt x="82" y="127"/>
                  </a:cubicBezTo>
                  <a:cubicBezTo>
                    <a:pt x="104" y="141"/>
                    <a:pt x="97" y="149"/>
                    <a:pt x="119" y="134"/>
                  </a:cubicBezTo>
                  <a:cubicBezTo>
                    <a:pt x="126" y="104"/>
                    <a:pt x="126" y="67"/>
                    <a:pt x="119" y="45"/>
                  </a:cubicBezTo>
                  <a:cubicBezTo>
                    <a:pt x="111" y="30"/>
                    <a:pt x="104" y="15"/>
                    <a:pt x="97" y="8"/>
                  </a:cubicBezTo>
                  <a:cubicBezTo>
                    <a:pt x="82" y="0"/>
                    <a:pt x="59" y="0"/>
                    <a:pt x="37" y="8"/>
                  </a:cubicBezTo>
                  <a:cubicBezTo>
                    <a:pt x="15" y="15"/>
                    <a:pt x="30" y="45"/>
                    <a:pt x="0" y="45"/>
                  </a:cubicBezTo>
                  <a:cubicBezTo>
                    <a:pt x="0" y="60"/>
                    <a:pt x="22" y="90"/>
                    <a:pt x="45" y="97"/>
                  </a:cubicBezTo>
                </a:path>
              </a:pathLst>
            </a:custGeom>
            <a:grpFill/>
            <a:ln w="6350" cap="flat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lIns="60927" tIns="30463" rIns="60927" bIns="30463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50" name="Freeform 42"/>
            <p:cNvSpPr>
              <a:spLocks noChangeArrowheads="1"/>
            </p:cNvSpPr>
            <p:nvPr/>
          </p:nvSpPr>
          <p:spPr bwMode="auto">
            <a:xfrm>
              <a:off x="9321595" y="8191267"/>
              <a:ext cx="97226" cy="186699"/>
            </a:xfrm>
            <a:custGeom>
              <a:avLst/>
              <a:gdLst>
                <a:gd name="T0" fmla="*/ 215 w 224"/>
                <a:gd name="T1" fmla="*/ 193 h 432"/>
                <a:gd name="T2" fmla="*/ 215 w 224"/>
                <a:gd name="T3" fmla="*/ 193 h 432"/>
                <a:gd name="T4" fmla="*/ 193 w 224"/>
                <a:gd name="T5" fmla="*/ 193 h 432"/>
                <a:gd name="T6" fmla="*/ 186 w 224"/>
                <a:gd name="T7" fmla="*/ 215 h 432"/>
                <a:gd name="T8" fmla="*/ 119 w 224"/>
                <a:gd name="T9" fmla="*/ 186 h 432"/>
                <a:gd name="T10" fmla="*/ 156 w 224"/>
                <a:gd name="T11" fmla="*/ 156 h 432"/>
                <a:gd name="T12" fmla="*/ 215 w 224"/>
                <a:gd name="T13" fmla="*/ 134 h 432"/>
                <a:gd name="T14" fmla="*/ 60 w 224"/>
                <a:gd name="T15" fmla="*/ 0 h 432"/>
                <a:gd name="T16" fmla="*/ 22 w 224"/>
                <a:gd name="T17" fmla="*/ 37 h 432"/>
                <a:gd name="T18" fmla="*/ 15 w 224"/>
                <a:gd name="T19" fmla="*/ 37 h 432"/>
                <a:gd name="T20" fmla="*/ 7 w 224"/>
                <a:gd name="T21" fmla="*/ 215 h 432"/>
                <a:gd name="T22" fmla="*/ 223 w 224"/>
                <a:gd name="T23" fmla="*/ 290 h 432"/>
                <a:gd name="T24" fmla="*/ 223 w 224"/>
                <a:gd name="T25" fmla="*/ 230 h 432"/>
                <a:gd name="T26" fmla="*/ 223 w 224"/>
                <a:gd name="T27" fmla="*/ 230 h 432"/>
                <a:gd name="T28" fmla="*/ 223 w 224"/>
                <a:gd name="T29" fmla="*/ 230 h 432"/>
                <a:gd name="T30" fmla="*/ 223 w 224"/>
                <a:gd name="T31" fmla="*/ 193 h 432"/>
                <a:gd name="T32" fmla="*/ 215 w 224"/>
                <a:gd name="T33" fmla="*/ 193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4" h="432">
                  <a:moveTo>
                    <a:pt x="215" y="193"/>
                  </a:moveTo>
                  <a:lnTo>
                    <a:pt x="215" y="193"/>
                  </a:lnTo>
                  <a:cubicBezTo>
                    <a:pt x="208" y="193"/>
                    <a:pt x="201" y="193"/>
                    <a:pt x="193" y="193"/>
                  </a:cubicBezTo>
                  <a:cubicBezTo>
                    <a:pt x="193" y="201"/>
                    <a:pt x="186" y="208"/>
                    <a:pt x="186" y="215"/>
                  </a:cubicBezTo>
                  <a:cubicBezTo>
                    <a:pt x="171" y="215"/>
                    <a:pt x="119" y="223"/>
                    <a:pt x="119" y="186"/>
                  </a:cubicBezTo>
                  <a:cubicBezTo>
                    <a:pt x="126" y="171"/>
                    <a:pt x="149" y="178"/>
                    <a:pt x="156" y="156"/>
                  </a:cubicBezTo>
                  <a:cubicBezTo>
                    <a:pt x="178" y="156"/>
                    <a:pt x="223" y="171"/>
                    <a:pt x="215" y="134"/>
                  </a:cubicBezTo>
                  <a:cubicBezTo>
                    <a:pt x="208" y="96"/>
                    <a:pt x="112" y="15"/>
                    <a:pt x="60" y="0"/>
                  </a:cubicBezTo>
                  <a:cubicBezTo>
                    <a:pt x="60" y="15"/>
                    <a:pt x="37" y="22"/>
                    <a:pt x="22" y="37"/>
                  </a:cubicBezTo>
                  <a:cubicBezTo>
                    <a:pt x="22" y="37"/>
                    <a:pt x="22" y="37"/>
                    <a:pt x="15" y="37"/>
                  </a:cubicBezTo>
                  <a:cubicBezTo>
                    <a:pt x="0" y="89"/>
                    <a:pt x="0" y="186"/>
                    <a:pt x="7" y="215"/>
                  </a:cubicBezTo>
                  <a:cubicBezTo>
                    <a:pt x="52" y="431"/>
                    <a:pt x="67" y="297"/>
                    <a:pt x="223" y="290"/>
                  </a:cubicBezTo>
                  <a:cubicBezTo>
                    <a:pt x="223" y="275"/>
                    <a:pt x="223" y="252"/>
                    <a:pt x="223" y="230"/>
                  </a:cubicBezTo>
                  <a:lnTo>
                    <a:pt x="223" y="230"/>
                  </a:lnTo>
                  <a:lnTo>
                    <a:pt x="223" y="230"/>
                  </a:lnTo>
                  <a:cubicBezTo>
                    <a:pt x="223" y="215"/>
                    <a:pt x="223" y="208"/>
                    <a:pt x="223" y="193"/>
                  </a:cubicBezTo>
                  <a:cubicBezTo>
                    <a:pt x="223" y="193"/>
                    <a:pt x="223" y="193"/>
                    <a:pt x="215" y="193"/>
                  </a:cubicBezTo>
                </a:path>
              </a:pathLst>
            </a:custGeom>
            <a:grpFill/>
            <a:ln w="6350" cap="flat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lIns="60927" tIns="30463" rIns="60927" bIns="30463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51" name="Freeform 43"/>
            <p:cNvSpPr>
              <a:spLocks noChangeArrowheads="1"/>
            </p:cNvSpPr>
            <p:nvPr/>
          </p:nvSpPr>
          <p:spPr bwMode="auto">
            <a:xfrm>
              <a:off x="9329221" y="8191267"/>
              <a:ext cx="19064" cy="17146"/>
            </a:xfrm>
            <a:custGeom>
              <a:avLst/>
              <a:gdLst>
                <a:gd name="T0" fmla="*/ 45 w 46"/>
                <a:gd name="T1" fmla="*/ 0 h 38"/>
                <a:gd name="T2" fmla="*/ 45 w 46"/>
                <a:gd name="T3" fmla="*/ 0 h 38"/>
                <a:gd name="T4" fmla="*/ 22 w 46"/>
                <a:gd name="T5" fmla="*/ 0 h 38"/>
                <a:gd name="T6" fmla="*/ 0 w 46"/>
                <a:gd name="T7" fmla="*/ 37 h 38"/>
                <a:gd name="T8" fmla="*/ 7 w 46"/>
                <a:gd name="T9" fmla="*/ 37 h 38"/>
                <a:gd name="T10" fmla="*/ 45 w 46"/>
                <a:gd name="T11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" h="38">
                  <a:moveTo>
                    <a:pt x="45" y="0"/>
                  </a:moveTo>
                  <a:lnTo>
                    <a:pt x="45" y="0"/>
                  </a:lnTo>
                  <a:cubicBezTo>
                    <a:pt x="30" y="0"/>
                    <a:pt x="22" y="0"/>
                    <a:pt x="22" y="0"/>
                  </a:cubicBezTo>
                  <a:cubicBezTo>
                    <a:pt x="15" y="7"/>
                    <a:pt x="7" y="22"/>
                    <a:pt x="0" y="37"/>
                  </a:cubicBezTo>
                  <a:cubicBezTo>
                    <a:pt x="7" y="37"/>
                    <a:pt x="7" y="37"/>
                    <a:pt x="7" y="37"/>
                  </a:cubicBezTo>
                  <a:cubicBezTo>
                    <a:pt x="22" y="22"/>
                    <a:pt x="45" y="15"/>
                    <a:pt x="45" y="0"/>
                  </a:cubicBezTo>
                </a:path>
              </a:pathLst>
            </a:custGeom>
            <a:grpFill/>
            <a:ln w="6350" cap="flat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lIns="60927" tIns="30463" rIns="60927" bIns="30463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58611069-5CD6-C954-278D-4F7E384E96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Map: India</a:t>
            </a:r>
          </a:p>
        </p:txBody>
      </p:sp>
      <p:grpSp>
        <p:nvGrpSpPr>
          <p:cNvPr id="6" name="Gruppieren 96">
            <a:extLst>
              <a:ext uri="{FF2B5EF4-FFF2-40B4-BE49-F238E27FC236}">
                <a16:creationId xmlns:a16="http://schemas.microsoft.com/office/drawing/2014/main" id="{30DE4716-D56D-7FF6-FA9D-665B08BD1192}"/>
              </a:ext>
            </a:extLst>
          </p:cNvPr>
          <p:cNvGrpSpPr>
            <a:grpSpLocks/>
          </p:cNvGrpSpPr>
          <p:nvPr/>
        </p:nvGrpSpPr>
        <p:grpSpPr>
          <a:xfrm>
            <a:off x="5105086" y="2256243"/>
            <a:ext cx="304976" cy="304976"/>
            <a:chOff x="3476538" y="3554481"/>
            <a:chExt cx="828675" cy="828675"/>
          </a:xfrm>
        </p:grpSpPr>
        <p:sp>
          <p:nvSpPr>
            <p:cNvPr id="7" name="Träne 97">
              <a:extLst>
                <a:ext uri="{FF2B5EF4-FFF2-40B4-BE49-F238E27FC236}">
                  <a16:creationId xmlns:a16="http://schemas.microsoft.com/office/drawing/2014/main" id="{6FE9A9C3-676A-0738-FDA0-93BCE72D7F37}"/>
                </a:ext>
              </a:extLst>
            </p:cNvPr>
            <p:cNvSpPr>
              <a:spLocks/>
            </p:cNvSpPr>
            <p:nvPr/>
          </p:nvSpPr>
          <p:spPr>
            <a:xfrm rot="8100000">
              <a:off x="3476538" y="3554481"/>
              <a:ext cx="828675" cy="828675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" name="Ellipse 98">
              <a:extLst>
                <a:ext uri="{FF2B5EF4-FFF2-40B4-BE49-F238E27FC236}">
                  <a16:creationId xmlns:a16="http://schemas.microsoft.com/office/drawing/2014/main" id="{9FC0EB92-5734-D429-B785-6E52324BF2F2}"/>
                </a:ext>
              </a:extLst>
            </p:cNvPr>
            <p:cNvSpPr>
              <a:spLocks/>
            </p:cNvSpPr>
            <p:nvPr/>
          </p:nvSpPr>
          <p:spPr>
            <a:xfrm>
              <a:off x="3738387" y="3816330"/>
              <a:ext cx="304976" cy="30497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6" name="Inhaltsplatzhalter 2">
            <a:extLst>
              <a:ext uri="{FF2B5EF4-FFF2-40B4-BE49-F238E27FC236}">
                <a16:creationId xmlns:a16="http://schemas.microsoft.com/office/drawing/2014/main" id="{E2CFAF58-2670-0716-FB2E-92EF17AB6D88}"/>
              </a:ext>
            </a:extLst>
          </p:cNvPr>
          <p:cNvSpPr txBox="1">
            <a:spLocks/>
          </p:cNvSpPr>
          <p:nvPr/>
        </p:nvSpPr>
        <p:spPr>
          <a:xfrm>
            <a:off x="403200" y="2950839"/>
            <a:ext cx="2616200" cy="17235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Continent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/>
              <a:t>Asia</a:t>
            </a:r>
          </a:p>
          <a:p>
            <a:pPr marL="0" indent="0">
              <a:spcBef>
                <a:spcPts val="0"/>
              </a:spcBef>
              <a:buNone/>
            </a:pPr>
            <a:endParaRPr lang="en-US" sz="1400" b="1">
              <a:solidFill>
                <a:schemeClr val="accent1"/>
              </a:solidFill>
              <a:sym typeface="Futura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Capital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/>
              <a:t>New Delhi</a:t>
            </a:r>
          </a:p>
          <a:p>
            <a:pPr>
              <a:spcBef>
                <a:spcPts val="0"/>
              </a:spcBef>
            </a:pPr>
            <a:endParaRPr lang="en-US" sz="1400"/>
          </a:p>
          <a:p>
            <a:pPr marL="0" indent="0">
              <a:spcBef>
                <a:spcPts val="0"/>
              </a:spcBef>
              <a:buNone/>
            </a:pPr>
            <a:r>
              <a:rPr lang="en-US" sz="1400" b="1">
                <a:solidFill>
                  <a:schemeClr val="accent1"/>
                </a:solidFill>
              </a:rPr>
              <a:t>Official language(s)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/>
              <a:t>Hindi, English</a:t>
            </a:r>
          </a:p>
        </p:txBody>
      </p:sp>
      <p:sp>
        <p:nvSpPr>
          <p:cNvPr id="57" name="Text Placeholder 15">
            <a:extLst>
              <a:ext uri="{FF2B5EF4-FFF2-40B4-BE49-F238E27FC236}">
                <a16:creationId xmlns:a16="http://schemas.microsoft.com/office/drawing/2014/main" id="{C94E75FC-AC22-F6F0-2744-72208B7108EF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944169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maps</a:t>
            </a:r>
          </a:p>
        </p:txBody>
      </p:sp>
    </p:spTree>
    <p:extLst>
      <p:ext uri="{BB962C8B-B14F-4D97-AF65-F5344CB8AC3E}">
        <p14:creationId xmlns:p14="http://schemas.microsoft.com/office/powerpoint/2010/main" val="42400819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